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2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3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4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9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21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0"/>
  </p:notesMasterIdLst>
  <p:sldIdLst>
    <p:sldId id="1188" r:id="rId2"/>
    <p:sldId id="1179" r:id="rId3"/>
    <p:sldId id="1243" r:id="rId4"/>
    <p:sldId id="1224" r:id="rId5"/>
    <p:sldId id="1181" r:id="rId6"/>
    <p:sldId id="1192" r:id="rId7"/>
    <p:sldId id="1209" r:id="rId8"/>
    <p:sldId id="1180" r:id="rId9"/>
    <p:sldId id="1231" r:id="rId10"/>
    <p:sldId id="1235" r:id="rId11"/>
    <p:sldId id="1236" r:id="rId12"/>
    <p:sldId id="1238" r:id="rId13"/>
    <p:sldId id="1239" r:id="rId14"/>
    <p:sldId id="1240" r:id="rId15"/>
    <p:sldId id="1241" r:id="rId16"/>
    <p:sldId id="1242" r:id="rId17"/>
    <p:sldId id="1184" r:id="rId18"/>
    <p:sldId id="1207" r:id="rId19"/>
    <p:sldId id="1208" r:id="rId20"/>
    <p:sldId id="1193" r:id="rId21"/>
    <p:sldId id="1201" r:id="rId22"/>
    <p:sldId id="1185" r:id="rId23"/>
    <p:sldId id="1253" r:id="rId24"/>
    <p:sldId id="1254" r:id="rId25"/>
    <p:sldId id="1257" r:id="rId26"/>
    <p:sldId id="1255" r:id="rId27"/>
    <p:sldId id="1258" r:id="rId28"/>
    <p:sldId id="1256" r:id="rId29"/>
  </p:sldIdLst>
  <p:sldSz cx="12192000" cy="6858000"/>
  <p:notesSz cx="6858000" cy="9144000"/>
  <p:custDataLst>
    <p:tags r:id="rId3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ájek Ondřej RNDr. Ph.D." initials="MORP" lastIdx="1" clrIdx="0">
    <p:extLst>
      <p:ext uri="{19B8F6BF-5375-455C-9EA6-DF929625EA0E}">
        <p15:presenceInfo xmlns:p15="http://schemas.microsoft.com/office/powerpoint/2012/main" userId="S::majeko@mzcr.cz::9d61c4b0-e3bf-4878-8005-e21f10a403b2" providerId="AD"/>
      </p:ext>
    </p:extLst>
  </p:cmAuthor>
  <p:cmAuthor id="2" name="Kouřil Jan Mgr." initials="KJM" lastIdx="1" clrIdx="1">
    <p:extLst>
      <p:ext uri="{19B8F6BF-5375-455C-9EA6-DF929625EA0E}">
        <p15:presenceInfo xmlns:p15="http://schemas.microsoft.com/office/powerpoint/2012/main" userId="S::kourilj@mzcr.cz::dbc45f57-da0e-49ed-8558-d54a6c5b7b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DD1D9"/>
    <a:srgbClr val="F797B0"/>
    <a:srgbClr val="E8EAED"/>
    <a:srgbClr val="FF7C80"/>
    <a:srgbClr val="00CD61"/>
    <a:srgbClr val="00FF00"/>
    <a:srgbClr val="D31145"/>
    <a:srgbClr val="996633"/>
    <a:srgbClr val="F75A1C"/>
    <a:srgbClr val="9E0D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Světlý styl 1 – zvýraznění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Světlý styl 1 – zvýraznění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67" autoAdjust="0"/>
    <p:restoredTop sz="96327" autoAdjust="0"/>
  </p:normalViewPr>
  <p:slideViewPr>
    <p:cSldViewPr snapToGrid="0">
      <p:cViewPr varScale="1">
        <p:scale>
          <a:sx n="68" d="100"/>
          <a:sy n="68" d="100"/>
        </p:scale>
        <p:origin x="732" y="78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640230244309003E-2"/>
          <c:y val="8.1965526849870296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03.10.202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8ED-4368-B9BE-D456B2020E7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8ED-4368-B9BE-D456B2020E7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8D9-4FAE-ACD8-8FC9D76B16F6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561-42EC-8144-BD0DFC6360C1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561-42EC-8144-BD0DFC6360C1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154-4F68-8DDF-88A5914185CF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561-42EC-8144-BD0DFC6360C1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154-4F68-8DDF-88A5914185CF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7561-42EC-8144-BD0DFC6360C1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154-4F68-8DDF-88A5914185CF}"/>
              </c:ext>
            </c:extLst>
          </c:dPt>
          <c:dPt>
            <c:idx val="2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154-4F68-8DDF-88A5914185CF}"/>
              </c:ext>
            </c:extLst>
          </c:dPt>
          <c:cat>
            <c:strRef>
              <c:f>List1!$A$2:$A$32</c:f>
              <c:strCache>
                <c:ptCount val="31"/>
                <c:pt idx="0">
                  <c:v>Lotyšsko</c:v>
                </c:pt>
                <c:pt idx="1">
                  <c:v>Litva</c:v>
                </c:pt>
                <c:pt idx="2">
                  <c:v>Estonsko</c:v>
                </c:pt>
                <c:pt idx="3">
                  <c:v>Rumunsko</c:v>
                </c:pt>
                <c:pt idx="4">
                  <c:v>Velká Británie</c:v>
                </c:pt>
                <c:pt idx="5">
                  <c:v>Slovinsko</c:v>
                </c:pt>
                <c:pt idx="6">
                  <c:v>Bulharsko</c:v>
                </c:pt>
                <c:pt idx="7">
                  <c:v>Slovensko</c:v>
                </c:pt>
                <c:pt idx="8">
                  <c:v>Chorvatsko</c:v>
                </c:pt>
                <c:pt idx="9">
                  <c:v>Irsko</c:v>
                </c:pt>
                <c:pt idx="10">
                  <c:v>Belgie</c:v>
                </c:pt>
                <c:pt idx="11">
                  <c:v>Rakousko</c:v>
                </c:pt>
                <c:pt idx="12">
                  <c:v>Řecko</c:v>
                </c:pt>
                <c:pt idx="13">
                  <c:v>Nizozemsko</c:v>
                </c:pt>
                <c:pt idx="14">
                  <c:v>Lucembursko</c:v>
                </c:pt>
                <c:pt idx="15">
                  <c:v>Kypr</c:v>
                </c:pt>
                <c:pt idx="16">
                  <c:v>Island</c:v>
                </c:pt>
                <c:pt idx="17">
                  <c:v>Dánsko</c:v>
                </c:pt>
                <c:pt idx="18">
                  <c:v>Německo</c:v>
                </c:pt>
                <c:pt idx="19">
                  <c:v>Česká republika</c:v>
                </c:pt>
                <c:pt idx="20">
                  <c:v>Finsko</c:v>
                </c:pt>
                <c:pt idx="21">
                  <c:v>Lichtenštejnsko</c:v>
                </c:pt>
                <c:pt idx="22">
                  <c:v>Maďarsko</c:v>
                </c:pt>
                <c:pt idx="23">
                  <c:v>Norsko</c:v>
                </c:pt>
                <c:pt idx="24">
                  <c:v>Francie</c:v>
                </c:pt>
                <c:pt idx="25">
                  <c:v>Portugalsko</c:v>
                </c:pt>
                <c:pt idx="26">
                  <c:v>Švédsko</c:v>
                </c:pt>
                <c:pt idx="27">
                  <c:v>Polsko</c:v>
                </c:pt>
                <c:pt idx="28">
                  <c:v>Itálie</c:v>
                </c:pt>
                <c:pt idx="29">
                  <c:v>Španělsko</c:v>
                </c:pt>
                <c:pt idx="30">
                  <c:v>Malta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580.86414090450421</c:v>
                </c:pt>
                <c:pt idx="1">
                  <c:v>795.53629267489589</c:v>
                </c:pt>
                <c:pt idx="2">
                  <c:v>658.62739432465298</c:v>
                </c:pt>
                <c:pt idx="3">
                  <c:v>631.52787560224783</c:v>
                </c:pt>
                <c:pt idx="4">
                  <c:v>691.94085800613493</c:v>
                </c:pt>
                <c:pt idx="5">
                  <c:v>571.88907088781173</c:v>
                </c:pt>
                <c:pt idx="6">
                  <c:v>342.48811979949022</c:v>
                </c:pt>
                <c:pt idx="7">
                  <c:v>346.3253908619713</c:v>
                </c:pt>
                <c:pt idx="8">
                  <c:v>410.77679197371225</c:v>
                </c:pt>
                <c:pt idx="9">
                  <c:v>367.79576346979718</c:v>
                </c:pt>
                <c:pt idx="10">
                  <c:v>233.46617556698058</c:v>
                </c:pt>
                <c:pt idx="11">
                  <c:v>272.01242458204996</c:v>
                </c:pt>
                <c:pt idx="12">
                  <c:v>284.77692676211785</c:v>
                </c:pt>
                <c:pt idx="13">
                  <c:v>133.05119578620469</c:v>
                </c:pt>
                <c:pt idx="14">
                  <c:v>181.59806295399517</c:v>
                </c:pt>
                <c:pt idx="15">
                  <c:v>173.53505892421776</c:v>
                </c:pt>
                <c:pt idx="16">
                  <c:v>133.7419741084326</c:v>
                </c:pt>
                <c:pt idx="17">
                  <c:v>94.42252758698919</c:v>
                </c:pt>
                <c:pt idx="18">
                  <c:v>131.70654301815543</c:v>
                </c:pt>
                <c:pt idx="19">
                  <c:v>72.209127057859604</c:v>
                </c:pt>
                <c:pt idx="20">
                  <c:v>106.00344741961149</c:v>
                </c:pt>
                <c:pt idx="21">
                  <c:v>67.101969184711081</c:v>
                </c:pt>
                <c:pt idx="22">
                  <c:v>68.017629514471835</c:v>
                </c:pt>
                <c:pt idx="23">
                  <c:v>154.53891697934637</c:v>
                </c:pt>
                <c:pt idx="24">
                  <c:v>106.54451851431968</c:v>
                </c:pt>
                <c:pt idx="25">
                  <c:v>87.287096263185703</c:v>
                </c:pt>
                <c:pt idx="26">
                  <c:v>82.681446753932605</c:v>
                </c:pt>
                <c:pt idx="27">
                  <c:v>34.906875569080867</c:v>
                </c:pt>
                <c:pt idx="28">
                  <c:v>76.998414258208982</c:v>
                </c:pt>
                <c:pt idx="29">
                  <c:v>63.096029304445345</c:v>
                </c:pt>
                <c:pt idx="30">
                  <c:v>44.1150177626106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17.10.2021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Lotyšsko</c:v>
                </c:pt>
                <c:pt idx="1">
                  <c:v>Litva</c:v>
                </c:pt>
                <c:pt idx="2">
                  <c:v>Estonsko</c:v>
                </c:pt>
                <c:pt idx="3">
                  <c:v>Rumunsko</c:v>
                </c:pt>
                <c:pt idx="4">
                  <c:v>Velká Británie</c:v>
                </c:pt>
                <c:pt idx="5">
                  <c:v>Slovinsko</c:v>
                </c:pt>
                <c:pt idx="6">
                  <c:v>Bulharsko</c:v>
                </c:pt>
                <c:pt idx="7">
                  <c:v>Slovensko</c:v>
                </c:pt>
                <c:pt idx="8">
                  <c:v>Chorvatsko</c:v>
                </c:pt>
                <c:pt idx="9">
                  <c:v>Irsko</c:v>
                </c:pt>
                <c:pt idx="10">
                  <c:v>Belgie</c:v>
                </c:pt>
                <c:pt idx="11">
                  <c:v>Rakousko</c:v>
                </c:pt>
                <c:pt idx="12">
                  <c:v>Řecko</c:v>
                </c:pt>
                <c:pt idx="13">
                  <c:v>Nizozemsko</c:v>
                </c:pt>
                <c:pt idx="14">
                  <c:v>Lucembursko</c:v>
                </c:pt>
                <c:pt idx="15">
                  <c:v>Kypr</c:v>
                </c:pt>
                <c:pt idx="16">
                  <c:v>Island</c:v>
                </c:pt>
                <c:pt idx="17">
                  <c:v>Dánsko</c:v>
                </c:pt>
                <c:pt idx="18">
                  <c:v>Německo</c:v>
                </c:pt>
                <c:pt idx="19">
                  <c:v>Česká republika</c:v>
                </c:pt>
                <c:pt idx="20">
                  <c:v>Finsko</c:v>
                </c:pt>
                <c:pt idx="21">
                  <c:v>Lichtenštejnsko</c:v>
                </c:pt>
                <c:pt idx="22">
                  <c:v>Maďarsko</c:v>
                </c:pt>
                <c:pt idx="23">
                  <c:v>Norsko</c:v>
                </c:pt>
                <c:pt idx="24">
                  <c:v>Francie</c:v>
                </c:pt>
                <c:pt idx="25">
                  <c:v>Portugalsko</c:v>
                </c:pt>
                <c:pt idx="26">
                  <c:v>Švédsko</c:v>
                </c:pt>
                <c:pt idx="27">
                  <c:v>Polsko</c:v>
                </c:pt>
                <c:pt idx="28">
                  <c:v>Itálie</c:v>
                </c:pt>
                <c:pt idx="29">
                  <c:v>Španělsko</c:v>
                </c:pt>
                <c:pt idx="30">
                  <c:v>Malta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1256.7654343638198</c:v>
                </c:pt>
                <c:pt idx="1">
                  <c:v>1163.3483531310731</c:v>
                </c:pt>
                <c:pt idx="2">
                  <c:v>1086.5508481718255</c:v>
                </c:pt>
                <c:pt idx="3">
                  <c:v>999.96699232514663</c:v>
                </c:pt>
                <c:pt idx="4">
                  <c:v>805.88613585660607</c:v>
                </c:pt>
                <c:pt idx="5">
                  <c:v>624.85059839369114</c:v>
                </c:pt>
                <c:pt idx="6">
                  <c:v>498.09522631289269</c:v>
                </c:pt>
                <c:pt idx="7">
                  <c:v>484.40115774038719</c:v>
                </c:pt>
                <c:pt idx="8">
                  <c:v>475.95403341165286</c:v>
                </c:pt>
                <c:pt idx="9">
                  <c:v>432.8383463190209</c:v>
                </c:pt>
                <c:pt idx="10">
                  <c:v>325.75565592010025</c:v>
                </c:pt>
                <c:pt idx="11">
                  <c:v>308.52491342608027</c:v>
                </c:pt>
                <c:pt idx="12">
                  <c:v>303.93993972140862</c:v>
                </c:pt>
                <c:pt idx="13">
                  <c:v>228.13618316383346</c:v>
                </c:pt>
                <c:pt idx="14">
                  <c:v>222.64529442204861</c:v>
                </c:pt>
                <c:pt idx="15">
                  <c:v>209.90872799139643</c:v>
                </c:pt>
                <c:pt idx="16">
                  <c:v>180.15345999000368</c:v>
                </c:pt>
                <c:pt idx="17">
                  <c:v>154.42840452204564</c:v>
                </c:pt>
                <c:pt idx="18">
                  <c:v>147.2428072813893</c:v>
                </c:pt>
                <c:pt idx="19">
                  <c:v>145.73675798973605</c:v>
                </c:pt>
                <c:pt idx="20">
                  <c:v>140.86133366345163</c:v>
                </c:pt>
                <c:pt idx="21">
                  <c:v>126.46140346349395</c:v>
                </c:pt>
                <c:pt idx="22">
                  <c:v>117.84604493605933</c:v>
                </c:pt>
                <c:pt idx="23">
                  <c:v>108.39149113753312</c:v>
                </c:pt>
                <c:pt idx="24">
                  <c:v>92.086751474475363</c:v>
                </c:pt>
                <c:pt idx="25">
                  <c:v>85.373714938622712</c:v>
                </c:pt>
                <c:pt idx="26">
                  <c:v>79.437708065260921</c:v>
                </c:pt>
                <c:pt idx="27">
                  <c:v>77.920049713713567</c:v>
                </c:pt>
                <c:pt idx="28">
                  <c:v>60.134314556337024</c:v>
                </c:pt>
                <c:pt idx="29">
                  <c:v>49.60427497200979</c:v>
                </c:pt>
                <c:pt idx="30">
                  <c:v>47.6131248979718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C138-4612-AF06-5399DE4C08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2064"/>
        <c:axId val="354362456"/>
      </c:barChart>
      <c:catAx>
        <c:axId val="354362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456"/>
        <c:crosses val="autoZero"/>
        <c:auto val="1"/>
        <c:lblAlgn val="ctr"/>
        <c:lblOffset val="100"/>
        <c:noMultiLvlLbl val="0"/>
      </c:catAx>
      <c:valAx>
        <c:axId val="354362456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I$2:$I$42</c:f>
              <c:numCache>
                <c:formatCode>General</c:formatCode>
                <c:ptCount val="41"/>
                <c:pt idx="0">
                  <c:v>3.3760210510968163</c:v>
                </c:pt>
                <c:pt idx="1">
                  <c:v>2.9941574874766106</c:v>
                </c:pt>
                <c:pt idx="2">
                  <c:v>3.2631977254817555</c:v>
                </c:pt>
                <c:pt idx="3">
                  <c:v>2.5775790544363866</c:v>
                </c:pt>
                <c:pt idx="4">
                  <c:v>2.6122939238564054</c:v>
                </c:pt>
                <c:pt idx="5">
                  <c:v>2.4387195767563119</c:v>
                </c:pt>
                <c:pt idx="6">
                  <c:v>1.8485667966159947</c:v>
                </c:pt>
                <c:pt idx="7">
                  <c:v>1.5274542544808216</c:v>
                </c:pt>
                <c:pt idx="8">
                  <c:v>1.5014181024158078</c:v>
                </c:pt>
                <c:pt idx="9">
                  <c:v>1.5014181024158078</c:v>
                </c:pt>
                <c:pt idx="10">
                  <c:v>1.5795265586108498</c:v>
                </c:pt>
                <c:pt idx="11">
                  <c:v>1.6489562974508873</c:v>
                </c:pt>
                <c:pt idx="12">
                  <c:v>2.2304303602362001</c:v>
                </c:pt>
                <c:pt idx="13">
                  <c:v>2.5341854676613633</c:v>
                </c:pt>
                <c:pt idx="14">
                  <c:v>2.3432536858512605</c:v>
                </c:pt>
                <c:pt idx="15">
                  <c:v>2.4473982941113168</c:v>
                </c:pt>
                <c:pt idx="16">
                  <c:v>2.256466512301214</c:v>
                </c:pt>
                <c:pt idx="17">
                  <c:v>2.2477877949462095</c:v>
                </c:pt>
                <c:pt idx="18">
                  <c:v>1.2497352991206723</c:v>
                </c:pt>
                <c:pt idx="19">
                  <c:v>1.128233256150607</c:v>
                </c:pt>
                <c:pt idx="20">
                  <c:v>0.86787173550046692</c:v>
                </c:pt>
                <c:pt idx="21">
                  <c:v>0.74636969253040153</c:v>
                </c:pt>
                <c:pt idx="22">
                  <c:v>0.43393586775023346</c:v>
                </c:pt>
                <c:pt idx="23">
                  <c:v>0.36450612891019607</c:v>
                </c:pt>
                <c:pt idx="24">
                  <c:v>0.24300408594013073</c:v>
                </c:pt>
                <c:pt idx="25">
                  <c:v>0.1909317818101027</c:v>
                </c:pt>
                <c:pt idx="26">
                  <c:v>0.11282332561506069</c:v>
                </c:pt>
                <c:pt idx="27">
                  <c:v>7.8108456195042017E-2</c:v>
                </c:pt>
                <c:pt idx="28">
                  <c:v>0.12150204297006537</c:v>
                </c:pt>
                <c:pt idx="29">
                  <c:v>0.1909317818101027</c:v>
                </c:pt>
                <c:pt idx="30">
                  <c:v>0.22564665123012137</c:v>
                </c:pt>
                <c:pt idx="31">
                  <c:v>0.19961049916510737</c:v>
                </c:pt>
                <c:pt idx="32">
                  <c:v>0.37318484626520076</c:v>
                </c:pt>
                <c:pt idx="33">
                  <c:v>0.30375510742516343</c:v>
                </c:pt>
                <c:pt idx="34">
                  <c:v>0.39922099833021474</c:v>
                </c:pt>
                <c:pt idx="35">
                  <c:v>0.45129330246024274</c:v>
                </c:pt>
                <c:pt idx="36">
                  <c:v>0.3818635636202054</c:v>
                </c:pt>
                <c:pt idx="37">
                  <c:v>0.46865073717025213</c:v>
                </c:pt>
                <c:pt idx="38">
                  <c:v>0.52072304130028013</c:v>
                </c:pt>
                <c:pt idx="39">
                  <c:v>0.56411662807530349</c:v>
                </c:pt>
                <c:pt idx="40">
                  <c:v>0.711654823110382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C$2:$C$42</c:f>
              <c:numCache>
                <c:formatCode>General</c:formatCode>
                <c:ptCount val="41"/>
                <c:pt idx="0">
                  <c:v>11.445735757422966</c:v>
                </c:pt>
                <c:pt idx="1">
                  <c:v>10.837914822592499</c:v>
                </c:pt>
                <c:pt idx="2">
                  <c:v>9.687730592067151</c:v>
                </c:pt>
                <c:pt idx="3">
                  <c:v>9.1079629311519366</c:v>
                </c:pt>
                <c:pt idx="4">
                  <c:v>8.5936529093723077</c:v>
                </c:pt>
                <c:pt idx="5">
                  <c:v>8.8274301919994116</c:v>
                </c:pt>
                <c:pt idx="6">
                  <c:v>10.192689522541693</c:v>
                </c:pt>
                <c:pt idx="7">
                  <c:v>11.623406492219564</c:v>
                </c:pt>
                <c:pt idx="8">
                  <c:v>13.17568764886353</c:v>
                </c:pt>
                <c:pt idx="9">
                  <c:v>14.419382792439718</c:v>
                </c:pt>
                <c:pt idx="10">
                  <c:v>13.241145287999119</c:v>
                </c:pt>
                <c:pt idx="11">
                  <c:v>11.221309566100947</c:v>
                </c:pt>
                <c:pt idx="12">
                  <c:v>9.6316240442366468</c:v>
                </c:pt>
                <c:pt idx="13">
                  <c:v>7.3780110397113736</c:v>
                </c:pt>
                <c:pt idx="14">
                  <c:v>5.3020687699826983</c:v>
                </c:pt>
                <c:pt idx="15">
                  <c:v>3.8994050742200792</c:v>
                </c:pt>
                <c:pt idx="16">
                  <c:v>3.113913404593013</c:v>
                </c:pt>
                <c:pt idx="17">
                  <c:v>2.3751771914913671</c:v>
                </c:pt>
                <c:pt idx="18">
                  <c:v>1.5522811566439643</c:v>
                </c:pt>
                <c:pt idx="19">
                  <c:v>0.97251349572874879</c:v>
                </c:pt>
                <c:pt idx="20">
                  <c:v>0.53301220438979502</c:v>
                </c:pt>
                <c:pt idx="21">
                  <c:v>0.34599037828811258</c:v>
                </c:pt>
                <c:pt idx="22">
                  <c:v>0.2431283739321872</c:v>
                </c:pt>
                <c:pt idx="23">
                  <c:v>0.1215641869660936</c:v>
                </c:pt>
                <c:pt idx="24">
                  <c:v>9.3510913050841235E-2</c:v>
                </c:pt>
                <c:pt idx="25">
                  <c:v>5.6106547830504741E-2</c:v>
                </c:pt>
                <c:pt idx="26">
                  <c:v>2.8053273915252371E-2</c:v>
                </c:pt>
                <c:pt idx="27">
                  <c:v>2.8053273915252371E-2</c:v>
                </c:pt>
                <c:pt idx="28">
                  <c:v>2.8053273915252371E-2</c:v>
                </c:pt>
                <c:pt idx="29">
                  <c:v>3.7404365220336494E-2</c:v>
                </c:pt>
                <c:pt idx="30">
                  <c:v>3.7404365220336494E-2</c:v>
                </c:pt>
                <c:pt idx="31">
                  <c:v>4.6755456525420618E-2</c:v>
                </c:pt>
                <c:pt idx="32">
                  <c:v>7.4808730440672988E-2</c:v>
                </c:pt>
                <c:pt idx="33">
                  <c:v>7.4808730440672988E-2</c:v>
                </c:pt>
                <c:pt idx="34">
                  <c:v>1.8702182610168247E-2</c:v>
                </c:pt>
                <c:pt idx="35">
                  <c:v>5.6106547830504741E-2</c:v>
                </c:pt>
                <c:pt idx="36">
                  <c:v>0.13091527827117772</c:v>
                </c:pt>
                <c:pt idx="37">
                  <c:v>0.1215641869660936</c:v>
                </c:pt>
                <c:pt idx="38">
                  <c:v>0.14026636957626185</c:v>
                </c:pt>
                <c:pt idx="39">
                  <c:v>0.2431283739321872</c:v>
                </c:pt>
                <c:pt idx="40">
                  <c:v>0.411448017423701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D$2:$D$42</c:f>
              <c:numCache>
                <c:formatCode>General</c:formatCode>
                <c:ptCount val="41"/>
                <c:pt idx="0">
                  <c:v>4.0299930113117881</c:v>
                </c:pt>
                <c:pt idx="1">
                  <c:v>3.7626141900673642</c:v>
                </c:pt>
                <c:pt idx="2">
                  <c:v>4.108721219789313</c:v>
                </c:pt>
                <c:pt idx="3">
                  <c:v>4.4681971905734823</c:v>
                </c:pt>
                <c:pt idx="4">
                  <c:v>4.3196534009932472</c:v>
                </c:pt>
                <c:pt idx="5">
                  <c:v>4.2320125651409075</c:v>
                </c:pt>
                <c:pt idx="6">
                  <c:v>3.7017112363394671</c:v>
                </c:pt>
                <c:pt idx="7">
                  <c:v>3.1907206001834574</c:v>
                </c:pt>
                <c:pt idx="8">
                  <c:v>3.1877497243918524</c:v>
                </c:pt>
                <c:pt idx="9">
                  <c:v>2.7554872967133677</c:v>
                </c:pt>
                <c:pt idx="10">
                  <c:v>2.7480601072343558</c:v>
                </c:pt>
                <c:pt idx="11">
                  <c:v>3.4432450424698575</c:v>
                </c:pt>
                <c:pt idx="12">
                  <c:v>3.0525748758738387</c:v>
                </c:pt>
                <c:pt idx="13">
                  <c:v>3.1194195811849448</c:v>
                </c:pt>
                <c:pt idx="14">
                  <c:v>2.9471087852718716</c:v>
                </c:pt>
                <c:pt idx="15">
                  <c:v>3.1565555285800033</c:v>
                </c:pt>
                <c:pt idx="16">
                  <c:v>2.9129437136684171</c:v>
                </c:pt>
                <c:pt idx="17">
                  <c:v>2.3365938100971038</c:v>
                </c:pt>
                <c:pt idx="18">
                  <c:v>1.8181759844620817</c:v>
                </c:pt>
                <c:pt idx="19">
                  <c:v>1.4557291378863075</c:v>
                </c:pt>
                <c:pt idx="20">
                  <c:v>1.1972629440166977</c:v>
                </c:pt>
                <c:pt idx="21">
                  <c:v>0.88532098589820329</c:v>
                </c:pt>
                <c:pt idx="22">
                  <c:v>0.58377709305032532</c:v>
                </c:pt>
                <c:pt idx="23">
                  <c:v>0.51544694984341699</c:v>
                </c:pt>
                <c:pt idx="24">
                  <c:v>0.34165071603454156</c:v>
                </c:pt>
                <c:pt idx="25">
                  <c:v>0.28668951388985442</c:v>
                </c:pt>
                <c:pt idx="26">
                  <c:v>0.24361181491158612</c:v>
                </c:pt>
                <c:pt idx="27">
                  <c:v>0.21835937068294611</c:v>
                </c:pt>
                <c:pt idx="28">
                  <c:v>0.21241761909973669</c:v>
                </c:pt>
                <c:pt idx="29">
                  <c:v>0.40403910765824042</c:v>
                </c:pt>
                <c:pt idx="30">
                  <c:v>0.49613625719798643</c:v>
                </c:pt>
                <c:pt idx="31">
                  <c:v>0.67141792890266427</c:v>
                </c:pt>
                <c:pt idx="32">
                  <c:v>0.99524339018757757</c:v>
                </c:pt>
                <c:pt idx="33">
                  <c:v>1.2447969566823731</c:v>
                </c:pt>
                <c:pt idx="34">
                  <c:v>1.0323793375826364</c:v>
                </c:pt>
                <c:pt idx="35">
                  <c:v>0.90908799223104086</c:v>
                </c:pt>
                <c:pt idx="36">
                  <c:v>0.76202964054660793</c:v>
                </c:pt>
                <c:pt idx="37">
                  <c:v>0.64319460888241953</c:v>
                </c:pt>
                <c:pt idx="38">
                  <c:v>0.49762169509378879</c:v>
                </c:pt>
                <c:pt idx="39">
                  <c:v>0.37730122553379802</c:v>
                </c:pt>
                <c:pt idx="40">
                  <c:v>0.316398271805901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F$2:$F$42</c:f>
              <c:numCache>
                <c:formatCode>General</c:formatCode>
                <c:ptCount val="41"/>
                <c:pt idx="0">
                  <c:v>5.7392934260795103</c:v>
                </c:pt>
                <c:pt idx="1">
                  <c:v>5.7376167408834595</c:v>
                </c:pt>
                <c:pt idx="2">
                  <c:v>5.5062341838285453</c:v>
                </c:pt>
                <c:pt idx="3">
                  <c:v>5.1222732739330716</c:v>
                </c:pt>
                <c:pt idx="4">
                  <c:v>4.6226210855101399</c:v>
                </c:pt>
                <c:pt idx="5">
                  <c:v>3.8630826916994425</c:v>
                </c:pt>
                <c:pt idx="6">
                  <c:v>3.5897830047432757</c:v>
                </c:pt>
                <c:pt idx="7">
                  <c:v>3.3215133733752586</c:v>
                </c:pt>
                <c:pt idx="8">
                  <c:v>3.4975653189605196</c:v>
                </c:pt>
                <c:pt idx="9">
                  <c:v>3.9569770626782486</c:v>
                </c:pt>
                <c:pt idx="10">
                  <c:v>4.6896884933521443</c:v>
                </c:pt>
                <c:pt idx="11">
                  <c:v>5.014965421385865</c:v>
                </c:pt>
                <c:pt idx="12">
                  <c:v>5.1926940521671758</c:v>
                </c:pt>
                <c:pt idx="13">
                  <c:v>5.4056330720655392</c:v>
                </c:pt>
                <c:pt idx="14">
                  <c:v>4.4817795290419316</c:v>
                </c:pt>
                <c:pt idx="15">
                  <c:v>3.8748194880717928</c:v>
                </c:pt>
                <c:pt idx="16">
                  <c:v>3.251092595141154</c:v>
                </c:pt>
                <c:pt idx="17">
                  <c:v>2.7765906846589745</c:v>
                </c:pt>
                <c:pt idx="18">
                  <c:v>2.2182545143742893</c:v>
                </c:pt>
                <c:pt idx="19">
                  <c:v>1.7923764745775626</c:v>
                </c:pt>
                <c:pt idx="20">
                  <c:v>1.3765585459571363</c:v>
                </c:pt>
                <c:pt idx="21">
                  <c:v>0.79977883851590026</c:v>
                </c:pt>
                <c:pt idx="22">
                  <c:v>0.80313220890800041</c:v>
                </c:pt>
                <c:pt idx="23">
                  <c:v>0.44935163254142824</c:v>
                </c:pt>
                <c:pt idx="24">
                  <c:v>0.33869040960212127</c:v>
                </c:pt>
                <c:pt idx="25">
                  <c:v>0.29677327970086864</c:v>
                </c:pt>
                <c:pt idx="26">
                  <c:v>0.21126233470231326</c:v>
                </c:pt>
                <c:pt idx="27">
                  <c:v>0.15425503803660967</c:v>
                </c:pt>
                <c:pt idx="28">
                  <c:v>0.13748818607610863</c:v>
                </c:pt>
                <c:pt idx="29">
                  <c:v>0.19952553832996253</c:v>
                </c:pt>
                <c:pt idx="30">
                  <c:v>0.25485614979961602</c:v>
                </c:pt>
                <c:pt idx="31">
                  <c:v>0.35545726156262231</c:v>
                </c:pt>
                <c:pt idx="32">
                  <c:v>0.53486257753998356</c:v>
                </c:pt>
                <c:pt idx="33">
                  <c:v>0.57342633704913593</c:v>
                </c:pt>
                <c:pt idx="34">
                  <c:v>0.70756115273314446</c:v>
                </c:pt>
                <c:pt idx="35">
                  <c:v>0.67738081920424253</c:v>
                </c:pt>
                <c:pt idx="36">
                  <c:v>0.65558391165559116</c:v>
                </c:pt>
                <c:pt idx="37">
                  <c:v>0.64887717087139074</c:v>
                </c:pt>
                <c:pt idx="38">
                  <c:v>0.56001285548073509</c:v>
                </c:pt>
                <c:pt idx="39">
                  <c:v>0.45270500293352844</c:v>
                </c:pt>
                <c:pt idx="40">
                  <c:v>0.40240444705202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K$2:$K$42</c:f>
              <c:numCache>
                <c:formatCode>General</c:formatCode>
                <c:ptCount val="41"/>
                <c:pt idx="0">
                  <c:v>7.6564615315011189</c:v>
                </c:pt>
                <c:pt idx="1">
                  <c:v>7.0013632186454089</c:v>
                </c:pt>
                <c:pt idx="2">
                  <c:v>6.2950853500978452</c:v>
                </c:pt>
                <c:pt idx="3">
                  <c:v>5.6706947706572457</c:v>
                </c:pt>
                <c:pt idx="4">
                  <c:v>5.9061207268397666</c:v>
                </c:pt>
                <c:pt idx="5">
                  <c:v>6.1108389496071762</c:v>
                </c:pt>
                <c:pt idx="6">
                  <c:v>6.0903671273304356</c:v>
                </c:pt>
                <c:pt idx="7">
                  <c:v>7.277732819381411</c:v>
                </c:pt>
                <c:pt idx="8">
                  <c:v>9.5193973586845448</c:v>
                </c:pt>
                <c:pt idx="9">
                  <c:v>11.208322696515676</c:v>
                </c:pt>
                <c:pt idx="10">
                  <c:v>14.002726437290818</c:v>
                </c:pt>
                <c:pt idx="11">
                  <c:v>17.503408046613522</c:v>
                </c:pt>
                <c:pt idx="12">
                  <c:v>18.086854981500636</c:v>
                </c:pt>
                <c:pt idx="13">
                  <c:v>18.219921826299455</c:v>
                </c:pt>
                <c:pt idx="14">
                  <c:v>17.124679334493813</c:v>
                </c:pt>
                <c:pt idx="15">
                  <c:v>14.534993816486081</c:v>
                </c:pt>
                <c:pt idx="16">
                  <c:v>11.33115363017612</c:v>
                </c:pt>
                <c:pt idx="17">
                  <c:v>8.0351902436208267</c:v>
                </c:pt>
                <c:pt idx="18">
                  <c:v>5.3226737919526501</c:v>
                </c:pt>
                <c:pt idx="19">
                  <c:v>3.5518611650145564</c:v>
                </c:pt>
                <c:pt idx="20">
                  <c:v>1.770812626938093</c:v>
                </c:pt>
                <c:pt idx="21">
                  <c:v>1.3613761814032739</c:v>
                </c:pt>
                <c:pt idx="22">
                  <c:v>0.60391875716385823</c:v>
                </c:pt>
                <c:pt idx="23">
                  <c:v>0.34802097870459631</c:v>
                </c:pt>
                <c:pt idx="24">
                  <c:v>0.30707733415111438</c:v>
                </c:pt>
                <c:pt idx="25">
                  <c:v>7.1651377968593361E-2</c:v>
                </c:pt>
                <c:pt idx="26">
                  <c:v>0.11259502252207527</c:v>
                </c:pt>
                <c:pt idx="27">
                  <c:v>0.10235911138370481</c:v>
                </c:pt>
                <c:pt idx="28">
                  <c:v>3.0707733415111436E-2</c:v>
                </c:pt>
                <c:pt idx="29">
                  <c:v>7.1651377968593361E-2</c:v>
                </c:pt>
                <c:pt idx="30">
                  <c:v>0.10235911138370481</c:v>
                </c:pt>
                <c:pt idx="31">
                  <c:v>4.0943644553481921E-2</c:v>
                </c:pt>
                <c:pt idx="32">
                  <c:v>0.11259502252207527</c:v>
                </c:pt>
                <c:pt idx="33">
                  <c:v>5.1179555691852403E-2</c:v>
                </c:pt>
                <c:pt idx="34">
                  <c:v>0.13306684479881625</c:v>
                </c:pt>
                <c:pt idx="35">
                  <c:v>0.19448231162903912</c:v>
                </c:pt>
                <c:pt idx="36">
                  <c:v>0.4810878235034125</c:v>
                </c:pt>
                <c:pt idx="37">
                  <c:v>0.35825688984296677</c:v>
                </c:pt>
                <c:pt idx="38">
                  <c:v>0.60391875716385823</c:v>
                </c:pt>
                <c:pt idx="39">
                  <c:v>0.74722151310104501</c:v>
                </c:pt>
                <c:pt idx="40">
                  <c:v>1.01335520269867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E$2:$E$42</c:f>
              <c:numCache>
                <c:formatCode>General</c:formatCode>
                <c:ptCount val="41"/>
                <c:pt idx="0">
                  <c:v>7.3490942788395222</c:v>
                </c:pt>
                <c:pt idx="1">
                  <c:v>7.1506975910109034</c:v>
                </c:pt>
                <c:pt idx="2">
                  <c:v>6.5579123358623628</c:v>
                </c:pt>
                <c:pt idx="3">
                  <c:v>6.0517001808572184</c:v>
                </c:pt>
                <c:pt idx="4">
                  <c:v>5.4769509882385519</c:v>
                </c:pt>
                <c:pt idx="5">
                  <c:v>4.0893765776068749</c:v>
                </c:pt>
                <c:pt idx="6">
                  <c:v>3.3991965847970111</c:v>
                </c:pt>
                <c:pt idx="7">
                  <c:v>2.6476939793855743</c:v>
                </c:pt>
                <c:pt idx="8">
                  <c:v>2.1991972244760287</c:v>
                </c:pt>
                <c:pt idx="9">
                  <c:v>1.7843677862889153</c:v>
                </c:pt>
                <c:pt idx="10">
                  <c:v>1.5583158025811552</c:v>
                </c:pt>
                <c:pt idx="11">
                  <c:v>1.4416825982213002</c:v>
                </c:pt>
                <c:pt idx="12">
                  <c:v>1.3226445855241287</c:v>
                </c:pt>
                <c:pt idx="13">
                  <c:v>1.7302595986992919</c:v>
                </c:pt>
                <c:pt idx="14">
                  <c:v>1.8685360780949964</c:v>
                </c:pt>
                <c:pt idx="15">
                  <c:v>1.9454899448891276</c:v>
                </c:pt>
                <c:pt idx="16">
                  <c:v>1.9863716866235097</c:v>
                </c:pt>
                <c:pt idx="17">
                  <c:v>1.8673336739263382</c:v>
                </c:pt>
                <c:pt idx="18">
                  <c:v>1.600399948484196</c:v>
                </c:pt>
                <c:pt idx="19">
                  <c:v>1.5186364650154316</c:v>
                </c:pt>
                <c:pt idx="20">
                  <c:v>1.2252498478628064</c:v>
                </c:pt>
                <c:pt idx="21">
                  <c:v>0.96432814326395566</c:v>
                </c:pt>
                <c:pt idx="22">
                  <c:v>0.72144250119497932</c:v>
                </c:pt>
                <c:pt idx="23">
                  <c:v>0.66252469693072269</c:v>
                </c:pt>
                <c:pt idx="24">
                  <c:v>0.44128232989759575</c:v>
                </c:pt>
                <c:pt idx="25">
                  <c:v>0.32344672136908242</c:v>
                </c:pt>
                <c:pt idx="26">
                  <c:v>0.24288564206897637</c:v>
                </c:pt>
                <c:pt idx="27">
                  <c:v>0.15631254192557886</c:v>
                </c:pt>
                <c:pt idx="28">
                  <c:v>0.197194283659961</c:v>
                </c:pt>
                <c:pt idx="29">
                  <c:v>0.15991975443155373</c:v>
                </c:pt>
                <c:pt idx="30">
                  <c:v>0.14909811691362906</c:v>
                </c:pt>
                <c:pt idx="31">
                  <c:v>0.10460916267327201</c:v>
                </c:pt>
                <c:pt idx="32">
                  <c:v>0.13106205438375459</c:v>
                </c:pt>
                <c:pt idx="33">
                  <c:v>0.1923846669853278</c:v>
                </c:pt>
                <c:pt idx="34">
                  <c:v>0.25731449209287599</c:v>
                </c:pt>
                <c:pt idx="35">
                  <c:v>0.31743470052579092</c:v>
                </c:pt>
                <c:pt idx="36">
                  <c:v>0.42444867153637944</c:v>
                </c:pt>
                <c:pt idx="37">
                  <c:v>0.51943860086038518</c:v>
                </c:pt>
                <c:pt idx="38">
                  <c:v>0.46893762577673653</c:v>
                </c:pt>
                <c:pt idx="39">
                  <c:v>0.50020013416185227</c:v>
                </c:pt>
                <c:pt idx="40">
                  <c:v>0.503807346667827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G$2:$G$42</c:f>
              <c:numCache>
                <c:formatCode>General</c:formatCode>
                <c:ptCount val="41"/>
                <c:pt idx="0">
                  <c:v>4.5899531727117804</c:v>
                </c:pt>
                <c:pt idx="1">
                  <c:v>3.7052813471828516</c:v>
                </c:pt>
                <c:pt idx="2">
                  <c:v>2.9986928112084472</c:v>
                </c:pt>
                <c:pt idx="3">
                  <c:v>2.5563568984439828</c:v>
                </c:pt>
                <c:pt idx="4">
                  <c:v>2.3150827642088205</c:v>
                </c:pt>
                <c:pt idx="5">
                  <c:v>2.3782736088894585</c:v>
                </c:pt>
                <c:pt idx="6">
                  <c:v>2.3265720086962092</c:v>
                </c:pt>
                <c:pt idx="7">
                  <c:v>1.8670022292006616</c:v>
                </c:pt>
                <c:pt idx="8">
                  <c:v>1.5395587613100841</c:v>
                </c:pt>
                <c:pt idx="9">
                  <c:v>1.355730849511865</c:v>
                </c:pt>
                <c:pt idx="10">
                  <c:v>1.1948814266884236</c:v>
                </c:pt>
                <c:pt idx="11">
                  <c:v>1.0684997373271479</c:v>
                </c:pt>
                <c:pt idx="12">
                  <c:v>0.91339493674740058</c:v>
                </c:pt>
                <c:pt idx="13">
                  <c:v>0.86743795879784591</c:v>
                </c:pt>
                <c:pt idx="14">
                  <c:v>0.85020409206676295</c:v>
                </c:pt>
                <c:pt idx="15">
                  <c:v>0.76977938065504203</c:v>
                </c:pt>
                <c:pt idx="16">
                  <c:v>0.68935466924332123</c:v>
                </c:pt>
                <c:pt idx="17">
                  <c:v>0.87318258104154034</c:v>
                </c:pt>
                <c:pt idx="18">
                  <c:v>0.74680089168026464</c:v>
                </c:pt>
                <c:pt idx="19">
                  <c:v>0.52850524641987962</c:v>
                </c:pt>
                <c:pt idx="20">
                  <c:v>0.46531440173924177</c:v>
                </c:pt>
                <c:pt idx="21">
                  <c:v>0.30446497891580021</c:v>
                </c:pt>
                <c:pt idx="22">
                  <c:v>0.1953171562856077</c:v>
                </c:pt>
                <c:pt idx="23">
                  <c:v>9.7658578142803848E-2</c:v>
                </c:pt>
                <c:pt idx="24">
                  <c:v>8.6169333655415153E-2</c:v>
                </c:pt>
                <c:pt idx="25">
                  <c:v>8.6169333655415153E-2</c:v>
                </c:pt>
                <c:pt idx="26">
                  <c:v>5.7446222436943431E-2</c:v>
                </c:pt>
                <c:pt idx="27">
                  <c:v>5.7446222436943431E-2</c:v>
                </c:pt>
                <c:pt idx="28">
                  <c:v>0.13787093384866425</c:v>
                </c:pt>
                <c:pt idx="29">
                  <c:v>0.16659404506713596</c:v>
                </c:pt>
                <c:pt idx="30">
                  <c:v>0.22978488974777372</c:v>
                </c:pt>
                <c:pt idx="31">
                  <c:v>0.22978488974777372</c:v>
                </c:pt>
                <c:pt idx="32">
                  <c:v>0.25276337872255111</c:v>
                </c:pt>
                <c:pt idx="33">
                  <c:v>0.25276337872255111</c:v>
                </c:pt>
                <c:pt idx="34">
                  <c:v>0.23552951199146807</c:v>
                </c:pt>
                <c:pt idx="35">
                  <c:v>0.183827911798219</c:v>
                </c:pt>
                <c:pt idx="36">
                  <c:v>0.25850800096624543</c:v>
                </c:pt>
                <c:pt idx="37">
                  <c:v>0.20680640077299639</c:v>
                </c:pt>
                <c:pt idx="38">
                  <c:v>0.183827911798219</c:v>
                </c:pt>
                <c:pt idx="39">
                  <c:v>0.12638168936127556</c:v>
                </c:pt>
                <c:pt idx="40">
                  <c:v>0.252763378722551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J$2:$J$42</c:f>
              <c:numCache>
                <c:formatCode>General</c:formatCode>
                <c:ptCount val="41"/>
                <c:pt idx="0">
                  <c:v>5.5403139110775133</c:v>
                </c:pt>
                <c:pt idx="1">
                  <c:v>5.6456931580785126</c:v>
                </c:pt>
                <c:pt idx="2">
                  <c:v>5.2531554629997927</c:v>
                </c:pt>
                <c:pt idx="3">
                  <c:v>4.6867420103694233</c:v>
                </c:pt>
                <c:pt idx="4">
                  <c:v>5.1425072536487431</c:v>
                </c:pt>
                <c:pt idx="5">
                  <c:v>4.4786179975424503</c:v>
                </c:pt>
                <c:pt idx="6">
                  <c:v>3.5275702933584365</c:v>
                </c:pt>
                <c:pt idx="7">
                  <c:v>4.2731284658905029</c:v>
                </c:pt>
                <c:pt idx="8">
                  <c:v>4.0149493107380554</c:v>
                </c:pt>
                <c:pt idx="9">
                  <c:v>4.9765349396221703</c:v>
                </c:pt>
                <c:pt idx="10">
                  <c:v>5.6878448568789119</c:v>
                </c:pt>
                <c:pt idx="11">
                  <c:v>6.7627131762890995</c:v>
                </c:pt>
                <c:pt idx="12">
                  <c:v>8.0957606508517355</c:v>
                </c:pt>
                <c:pt idx="13">
                  <c:v>9.1574565643868002</c:v>
                </c:pt>
                <c:pt idx="14">
                  <c:v>9.6211252511911933</c:v>
                </c:pt>
                <c:pt idx="15">
                  <c:v>8.7043258022825043</c:v>
                </c:pt>
                <c:pt idx="16">
                  <c:v>7.0287957749666221</c:v>
                </c:pt>
                <c:pt idx="17">
                  <c:v>5.0819141866231687</c:v>
                </c:pt>
                <c:pt idx="18">
                  <c:v>4.3231836082159774</c:v>
                </c:pt>
                <c:pt idx="19">
                  <c:v>3.3457910922817131</c:v>
                </c:pt>
                <c:pt idx="20">
                  <c:v>2.1075849400199766</c:v>
                </c:pt>
                <c:pt idx="21">
                  <c:v>1.093309687635363</c:v>
                </c:pt>
                <c:pt idx="22">
                  <c:v>1.090675206460338</c:v>
                </c:pt>
                <c:pt idx="23">
                  <c:v>0.67179269963136756</c:v>
                </c:pt>
                <c:pt idx="24">
                  <c:v>0.39517217625374568</c:v>
                </c:pt>
                <c:pt idx="25">
                  <c:v>0.2792550045526469</c:v>
                </c:pt>
                <c:pt idx="26">
                  <c:v>0.19758608812687284</c:v>
                </c:pt>
                <c:pt idx="27">
                  <c:v>0.1448964646263734</c:v>
                </c:pt>
                <c:pt idx="28">
                  <c:v>7.113099172567422E-2</c:v>
                </c:pt>
                <c:pt idx="29">
                  <c:v>5.005514232547445E-2</c:v>
                </c:pt>
                <c:pt idx="30">
                  <c:v>6.3227548200599309E-2</c:v>
                </c:pt>
                <c:pt idx="31">
                  <c:v>3.6882736450349597E-2</c:v>
                </c:pt>
                <c:pt idx="32">
                  <c:v>4.4786179975424507E-2</c:v>
                </c:pt>
                <c:pt idx="33">
                  <c:v>6.3227548200599309E-2</c:v>
                </c:pt>
                <c:pt idx="34">
                  <c:v>0.10274476582597386</c:v>
                </c:pt>
                <c:pt idx="35">
                  <c:v>0.12118613405114867</c:v>
                </c:pt>
                <c:pt idx="36">
                  <c:v>0.16597231402657317</c:v>
                </c:pt>
                <c:pt idx="37">
                  <c:v>0.22129641870209754</c:v>
                </c:pt>
                <c:pt idx="38">
                  <c:v>0.32404118452807146</c:v>
                </c:pt>
                <c:pt idx="39">
                  <c:v>0.45839972445434496</c:v>
                </c:pt>
                <c:pt idx="40">
                  <c:v>0.648082369056142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B$2:$B$42</c:f>
              <c:numCache>
                <c:formatCode>General</c:formatCode>
                <c:ptCount val="41"/>
                <c:pt idx="0">
                  <c:v>3.8534718995392012</c:v>
                </c:pt>
                <c:pt idx="1">
                  <c:v>4.1455718102914432</c:v>
                </c:pt>
                <c:pt idx="2">
                  <c:v>3.4602604812188749</c:v>
                </c:pt>
                <c:pt idx="3">
                  <c:v>3.1569259585146225</c:v>
                </c:pt>
                <c:pt idx="4">
                  <c:v>2.5839607489621463</c:v>
                </c:pt>
                <c:pt idx="5">
                  <c:v>2.1008724350257451</c:v>
                </c:pt>
                <c:pt idx="6">
                  <c:v>1.6851917928014</c:v>
                </c:pt>
                <c:pt idx="7">
                  <c:v>1.6402533449933627</c:v>
                </c:pt>
                <c:pt idx="8">
                  <c:v>1.5166726135212598</c:v>
                </c:pt>
                <c:pt idx="9">
                  <c:v>1.718895628657428</c:v>
                </c:pt>
                <c:pt idx="10">
                  <c:v>1.9885263155056518</c:v>
                </c:pt>
                <c:pt idx="11">
                  <c:v>1.9772917035536426</c:v>
                </c:pt>
                <c:pt idx="12">
                  <c:v>2.2693916143058854</c:v>
                </c:pt>
                <c:pt idx="13">
                  <c:v>2.4379107935860254</c:v>
                </c:pt>
                <c:pt idx="14">
                  <c:v>2.258157002353876</c:v>
                </c:pt>
                <c:pt idx="15">
                  <c:v>1.8761801959855584</c:v>
                </c:pt>
                <c:pt idx="16">
                  <c:v>1.6290187330413533</c:v>
                </c:pt>
                <c:pt idx="17">
                  <c:v>1.3481534342411199</c:v>
                </c:pt>
                <c:pt idx="18">
                  <c:v>0.96617662787280256</c:v>
                </c:pt>
                <c:pt idx="19">
                  <c:v>0.60666904540850397</c:v>
                </c:pt>
                <c:pt idx="20">
                  <c:v>0.539261373696448</c:v>
                </c:pt>
                <c:pt idx="21">
                  <c:v>0.34827297051228934</c:v>
                </c:pt>
                <c:pt idx="22">
                  <c:v>0.269630686848224</c:v>
                </c:pt>
                <c:pt idx="23">
                  <c:v>0.19098840318415863</c:v>
                </c:pt>
                <c:pt idx="24">
                  <c:v>0.12358073147210266</c:v>
                </c:pt>
                <c:pt idx="25">
                  <c:v>0.11234611952009332</c:v>
                </c:pt>
                <c:pt idx="26">
                  <c:v>2.2469223904018665E-2</c:v>
                </c:pt>
                <c:pt idx="27">
                  <c:v>4.4938447808037331E-2</c:v>
                </c:pt>
                <c:pt idx="28">
                  <c:v>2.2469223904018665E-2</c:v>
                </c:pt>
                <c:pt idx="29">
                  <c:v>5.6173059760046662E-2</c:v>
                </c:pt>
                <c:pt idx="30">
                  <c:v>0.10111150756808399</c:v>
                </c:pt>
                <c:pt idx="31">
                  <c:v>0.10111150756808399</c:v>
                </c:pt>
                <c:pt idx="32">
                  <c:v>5.6173059760046662E-2</c:v>
                </c:pt>
                <c:pt idx="33">
                  <c:v>0.22469223904018665</c:v>
                </c:pt>
                <c:pt idx="34">
                  <c:v>0.3145691346562613</c:v>
                </c:pt>
                <c:pt idx="35">
                  <c:v>0.38197680636831727</c:v>
                </c:pt>
                <c:pt idx="36">
                  <c:v>0.539261373696448</c:v>
                </c:pt>
                <c:pt idx="37">
                  <c:v>0.73024977688060666</c:v>
                </c:pt>
                <c:pt idx="38">
                  <c:v>0.539261373696448</c:v>
                </c:pt>
                <c:pt idx="39">
                  <c:v>0.77518822468864401</c:v>
                </c:pt>
                <c:pt idx="40">
                  <c:v>0.887534344208737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L$2:$L$42</c:f>
              <c:numCache>
                <c:formatCode>General</c:formatCode>
                <c:ptCount val="41"/>
                <c:pt idx="0">
                  <c:v>9.142755795160495</c:v>
                </c:pt>
                <c:pt idx="1">
                  <c:v>9.8023534076370051</c:v>
                </c:pt>
                <c:pt idx="2">
                  <c:v>11.414703127024024</c:v>
                </c:pt>
                <c:pt idx="3">
                  <c:v>9.6008096927136268</c:v>
                </c:pt>
                <c:pt idx="4">
                  <c:v>10.956649229470894</c:v>
                </c:pt>
                <c:pt idx="5">
                  <c:v>12.477388169347291</c:v>
                </c:pt>
                <c:pt idx="6">
                  <c:v>11.139870788492148</c:v>
                </c:pt>
                <c:pt idx="7">
                  <c:v>13.1369857818238</c:v>
                </c:pt>
                <c:pt idx="8">
                  <c:v>11.891079180479283</c:v>
                </c:pt>
                <c:pt idx="9">
                  <c:v>11.579602530143152</c:v>
                </c:pt>
                <c:pt idx="10">
                  <c:v>9.5458432250072498</c:v>
                </c:pt>
                <c:pt idx="11">
                  <c:v>7.951815661522355</c:v>
                </c:pt>
                <c:pt idx="12">
                  <c:v>9.7473869399306281</c:v>
                </c:pt>
                <c:pt idx="13">
                  <c:v>10.260407305190135</c:v>
                </c:pt>
                <c:pt idx="14">
                  <c:v>9.6740983163221266</c:v>
                </c:pt>
                <c:pt idx="15">
                  <c:v>6.0096671358970788</c:v>
                </c:pt>
                <c:pt idx="16">
                  <c:v>5.1851701203014438</c:v>
                </c:pt>
                <c:pt idx="17">
                  <c:v>4.0675186102718035</c:v>
                </c:pt>
                <c:pt idx="18">
                  <c:v>3.1330886592634162</c:v>
                </c:pt>
                <c:pt idx="19">
                  <c:v>0.97107426281263776</c:v>
                </c:pt>
                <c:pt idx="20">
                  <c:v>0.9527521069105126</c:v>
                </c:pt>
                <c:pt idx="21">
                  <c:v>1.2825509131487669</c:v>
                </c:pt>
                <c:pt idx="22">
                  <c:v>0.42140958574888054</c:v>
                </c:pt>
                <c:pt idx="23">
                  <c:v>1.0260407305190136</c:v>
                </c:pt>
                <c:pt idx="24">
                  <c:v>0.14657724721700194</c:v>
                </c:pt>
                <c:pt idx="25">
                  <c:v>7.3288623608500969E-2</c:v>
                </c:pt>
                <c:pt idx="26">
                  <c:v>0.14657724721700194</c:v>
                </c:pt>
                <c:pt idx="27">
                  <c:v>0.16489940311912718</c:v>
                </c:pt>
                <c:pt idx="28">
                  <c:v>5.496646770637572E-2</c:v>
                </c:pt>
                <c:pt idx="29">
                  <c:v>0.1282550913148767</c:v>
                </c:pt>
                <c:pt idx="30">
                  <c:v>3.6644311804250485E-2</c:v>
                </c:pt>
                <c:pt idx="31">
                  <c:v>5.496646770637572E-2</c:v>
                </c:pt>
                <c:pt idx="32">
                  <c:v>1.8322155902125242E-2</c:v>
                </c:pt>
                <c:pt idx="33">
                  <c:v>1.8322155902125242E-2</c:v>
                </c:pt>
                <c:pt idx="34">
                  <c:v>7.3288623608500969E-2</c:v>
                </c:pt>
                <c:pt idx="35">
                  <c:v>0.18322155902125242</c:v>
                </c:pt>
                <c:pt idx="36">
                  <c:v>0.32979880623825436</c:v>
                </c:pt>
                <c:pt idx="37">
                  <c:v>0.4763760534552563</c:v>
                </c:pt>
                <c:pt idx="38">
                  <c:v>1.5390610957785205</c:v>
                </c:pt>
                <c:pt idx="39">
                  <c:v>1.135973665931765</c:v>
                </c:pt>
                <c:pt idx="40">
                  <c:v>1.86885990201677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2</c:f>
              <c:numCache>
                <c:formatCode>General</c:formatCode>
                <c:ptCount val="41"/>
                <c:pt idx="0">
                  <c:v>2.5289116717703357</c:v>
                </c:pt>
                <c:pt idx="1">
                  <c:v>3.1563859963449303</c:v>
                </c:pt>
                <c:pt idx="2">
                  <c:v>5.1528952109004589</c:v>
                </c:pt>
                <c:pt idx="3">
                  <c:v>6.0698105538815161</c:v>
                </c:pt>
                <c:pt idx="4">
                  <c:v>6.7902440376523474</c:v>
                </c:pt>
                <c:pt idx="5">
                  <c:v>6.6634815478392966</c:v>
                </c:pt>
                <c:pt idx="6">
                  <c:v>4.6204927536856513</c:v>
                </c:pt>
                <c:pt idx="7">
                  <c:v>4.168373206685775</c:v>
                </c:pt>
                <c:pt idx="8">
                  <c:v>3.8599178148073543</c:v>
                </c:pt>
                <c:pt idx="9">
                  <c:v>2.0873556655882135</c:v>
                </c:pt>
                <c:pt idx="10">
                  <c:v>2.3641204350133713</c:v>
                </c:pt>
                <c:pt idx="11">
                  <c:v>3.4986447188401639</c:v>
                </c:pt>
                <c:pt idx="12">
                  <c:v>1.233821567513681</c:v>
                </c:pt>
                <c:pt idx="13">
                  <c:v>1.5676294573547112</c:v>
                </c:pt>
                <c:pt idx="14">
                  <c:v>1.2190326103688252</c:v>
                </c:pt>
                <c:pt idx="15">
                  <c:v>1.3436823920183236</c:v>
                </c:pt>
                <c:pt idx="16">
                  <c:v>1.172553030770707</c:v>
                </c:pt>
                <c:pt idx="17">
                  <c:v>1.2718503144575957</c:v>
                </c:pt>
                <c:pt idx="18">
                  <c:v>1.1345242838267922</c:v>
                </c:pt>
                <c:pt idx="19">
                  <c:v>0.58944557763067973</c:v>
                </c:pt>
                <c:pt idx="20">
                  <c:v>0.51127537557929925</c:v>
                </c:pt>
                <c:pt idx="21">
                  <c:v>0.59789641028488305</c:v>
                </c:pt>
                <c:pt idx="22">
                  <c:v>0.59367099395778145</c:v>
                </c:pt>
                <c:pt idx="23">
                  <c:v>0.36338580413074162</c:v>
                </c:pt>
                <c:pt idx="24">
                  <c:v>0.21127081635508235</c:v>
                </c:pt>
                <c:pt idx="25">
                  <c:v>0.30634268371486939</c:v>
                </c:pt>
                <c:pt idx="26">
                  <c:v>0.18169290206537081</c:v>
                </c:pt>
                <c:pt idx="27">
                  <c:v>0.20915810819153152</c:v>
                </c:pt>
                <c:pt idx="28">
                  <c:v>0.31479351636907271</c:v>
                </c:pt>
                <c:pt idx="29">
                  <c:v>0.79226556133155879</c:v>
                </c:pt>
                <c:pt idx="30">
                  <c:v>1.0183253348314971</c:v>
                </c:pt>
                <c:pt idx="31">
                  <c:v>0.99297283686888704</c:v>
                </c:pt>
                <c:pt idx="32">
                  <c:v>1.5676294573547112</c:v>
                </c:pt>
                <c:pt idx="33">
                  <c:v>1.7091809043126163</c:v>
                </c:pt>
                <c:pt idx="34">
                  <c:v>1.6521377838967439</c:v>
                </c:pt>
                <c:pt idx="35">
                  <c:v>0.98240929605113292</c:v>
                </c:pt>
                <c:pt idx="36">
                  <c:v>1.0732557470838184</c:v>
                </c:pt>
                <c:pt idx="37">
                  <c:v>0.83874514092967689</c:v>
                </c:pt>
                <c:pt idx="38">
                  <c:v>0.48381016945313859</c:v>
                </c:pt>
                <c:pt idx="39">
                  <c:v>0.63381244906524703</c:v>
                </c:pt>
                <c:pt idx="40">
                  <c:v>0.428879757200817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H$2:$H$42</c:f>
              <c:numCache>
                <c:formatCode>General</c:formatCode>
                <c:ptCount val="41"/>
                <c:pt idx="0">
                  <c:v>9.4137715205215748</c:v>
                </c:pt>
                <c:pt idx="1">
                  <c:v>11.504577962491638</c:v>
                </c:pt>
                <c:pt idx="2">
                  <c:v>12.75053991807183</c:v>
                </c:pt>
                <c:pt idx="3">
                  <c:v>12.076133623718873</c:v>
                </c:pt>
                <c:pt idx="4">
                  <c:v>9.756117199354339</c:v>
                </c:pt>
                <c:pt idx="5">
                  <c:v>6.4178795070451429</c:v>
                </c:pt>
                <c:pt idx="6">
                  <c:v>5.0161723070174267</c:v>
                </c:pt>
                <c:pt idx="7">
                  <c:v>3.3338298080323789</c:v>
                </c:pt>
                <c:pt idx="8">
                  <c:v>2.4272749417670738</c:v>
                </c:pt>
                <c:pt idx="9">
                  <c:v>1.49133418032299</c:v>
                </c:pt>
                <c:pt idx="10">
                  <c:v>0.93887935096196118</c:v>
                </c:pt>
                <c:pt idx="11">
                  <c:v>0.64208180965630213</c:v>
                </c:pt>
                <c:pt idx="12">
                  <c:v>0.3585079211810932</c:v>
                </c:pt>
                <c:pt idx="13">
                  <c:v>0.3878938163598713</c:v>
                </c:pt>
                <c:pt idx="14">
                  <c:v>0.24978010901961412</c:v>
                </c:pt>
                <c:pt idx="15">
                  <c:v>0.23214857191234722</c:v>
                </c:pt>
                <c:pt idx="16">
                  <c:v>0.16162242348327971</c:v>
                </c:pt>
                <c:pt idx="17">
                  <c:v>9.8442748848906733E-2</c:v>
                </c:pt>
                <c:pt idx="18">
                  <c:v>0.10872781216147907</c:v>
                </c:pt>
                <c:pt idx="19">
                  <c:v>6.1710379875434075E-2</c:v>
                </c:pt>
                <c:pt idx="20">
                  <c:v>8.8157685536334379E-2</c:v>
                </c:pt>
                <c:pt idx="21">
                  <c:v>8.6688390777395485E-2</c:v>
                </c:pt>
                <c:pt idx="22">
                  <c:v>9.4034864572090024E-2</c:v>
                </c:pt>
                <c:pt idx="23">
                  <c:v>0.10578922264360126</c:v>
                </c:pt>
                <c:pt idx="24">
                  <c:v>0.18219255010842439</c:v>
                </c:pt>
                <c:pt idx="25">
                  <c:v>0.19247761342099673</c:v>
                </c:pt>
                <c:pt idx="26">
                  <c:v>0.28504318323414785</c:v>
                </c:pt>
                <c:pt idx="27">
                  <c:v>0.41581041677971048</c:v>
                </c:pt>
                <c:pt idx="28">
                  <c:v>0.66118264152250794</c:v>
                </c:pt>
                <c:pt idx="29">
                  <c:v>0.82427435976472652</c:v>
                </c:pt>
                <c:pt idx="30">
                  <c:v>0.93594076144408334</c:v>
                </c:pt>
                <c:pt idx="31">
                  <c:v>0.87716897108652714</c:v>
                </c:pt>
                <c:pt idx="32">
                  <c:v>1.0094054993910289</c:v>
                </c:pt>
                <c:pt idx="33">
                  <c:v>1.1710279228743086</c:v>
                </c:pt>
                <c:pt idx="34">
                  <c:v>1.1636814490796139</c:v>
                </c:pt>
                <c:pt idx="35">
                  <c:v>1.4266852109296781</c:v>
                </c:pt>
                <c:pt idx="36">
                  <c:v>1.4737026432157232</c:v>
                </c:pt>
                <c:pt idx="37">
                  <c:v>1.4178694423760447</c:v>
                </c:pt>
                <c:pt idx="38">
                  <c:v>1.1533963857670415</c:v>
                </c:pt>
                <c:pt idx="39">
                  <c:v>1.1871901652226364</c:v>
                </c:pt>
                <c:pt idx="40">
                  <c:v>1.209229586606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0479224"/>
        <c:axId val="400485496"/>
      </c:lineChart>
      <c:catAx>
        <c:axId val="400479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5496"/>
        <c:crosses val="autoZero"/>
        <c:auto val="1"/>
        <c:lblAlgn val="ctr"/>
        <c:lblOffset val="100"/>
        <c:tickLblSkip val="1"/>
        <c:noMultiLvlLbl val="1"/>
      </c:catAx>
      <c:valAx>
        <c:axId val="400485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79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F9A-47BA-ACF0-8C3946271496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78C7-4F71-B6A6-584BFB277F2C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EDBA-4548-9ED7-7A1AACB2C2AF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EDBA-4548-9ED7-7A1AACB2C2AF}"/>
              </c:ext>
            </c:extLst>
          </c:dPt>
          <c:cat>
            <c:strRef>
              <c:f>List1!$A$2:$A$32</c:f>
              <c:strCache>
                <c:ptCount val="31"/>
                <c:pt idx="0">
                  <c:v>Bulharsko</c:v>
                </c:pt>
                <c:pt idx="1">
                  <c:v>Maďarsko</c:v>
                </c:pt>
                <c:pt idx="2">
                  <c:v>Rumunsko</c:v>
                </c:pt>
                <c:pt idx="3">
                  <c:v>Itálie</c:v>
                </c:pt>
                <c:pt idx="4">
                  <c:v>Polsko</c:v>
                </c:pt>
                <c:pt idx="5">
                  <c:v>Řecko</c:v>
                </c:pt>
                <c:pt idx="6">
                  <c:v>Německo</c:v>
                </c:pt>
                <c:pt idx="7">
                  <c:v>Chorvatsko</c:v>
                </c:pt>
                <c:pt idx="8">
                  <c:v>Belgie</c:v>
                </c:pt>
                <c:pt idx="9">
                  <c:v>Česká republika</c:v>
                </c:pt>
                <c:pt idx="10">
                  <c:v>Španělsko</c:v>
                </c:pt>
                <c:pt idx="11">
                  <c:v>Lichtenštejnsko</c:v>
                </c:pt>
                <c:pt idx="12">
                  <c:v>Portugalsko</c:v>
                </c:pt>
                <c:pt idx="13">
                  <c:v>Francie</c:v>
                </c:pt>
                <c:pt idx="14">
                  <c:v>Velká Británie</c:v>
                </c:pt>
                <c:pt idx="15">
                  <c:v>Slovinsko</c:v>
                </c:pt>
                <c:pt idx="16">
                  <c:v>Lotyšsko</c:v>
                </c:pt>
                <c:pt idx="17">
                  <c:v>Slovensko</c:v>
                </c:pt>
                <c:pt idx="18">
                  <c:v>Litva</c:v>
                </c:pt>
                <c:pt idx="19">
                  <c:v>Rakousko</c:v>
                </c:pt>
                <c:pt idx="20">
                  <c:v>Švédsko</c:v>
                </c:pt>
                <c:pt idx="21">
                  <c:v>Irsko</c:v>
                </c:pt>
                <c:pt idx="22">
                  <c:v>Malta</c:v>
                </c:pt>
                <c:pt idx="23">
                  <c:v>Lucembursko</c:v>
                </c:pt>
                <c:pt idx="24">
                  <c:v>Nizozemsko</c:v>
                </c:pt>
                <c:pt idx="25">
                  <c:v>Estonsko</c:v>
                </c:pt>
                <c:pt idx="26">
                  <c:v>Finsko</c:v>
                </c:pt>
                <c:pt idx="27">
                  <c:v>Dánsko</c:v>
                </c:pt>
                <c:pt idx="28">
                  <c:v>Kypr</c:v>
                </c:pt>
                <c:pt idx="29">
                  <c:v>Norsko</c:v>
                </c:pt>
                <c:pt idx="30">
                  <c:v>Island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4.1200919686507506E-2</c:v>
                </c:pt>
                <c:pt idx="1">
                  <c:v>3.6349115064880096E-2</c:v>
                </c:pt>
                <c:pt idx="2">
                  <c:v>2.8650655137893458E-2</c:v>
                </c:pt>
                <c:pt idx="3">
                  <c:v>2.7881266640087037E-2</c:v>
                </c:pt>
                <c:pt idx="4">
                  <c:v>2.5879544092976634E-2</c:v>
                </c:pt>
                <c:pt idx="5">
                  <c:v>2.2157818431269689E-2</c:v>
                </c:pt>
                <c:pt idx="6">
                  <c:v>2.1615201086379258E-2</c:v>
                </c:pt>
                <c:pt idx="7">
                  <c:v>2.0799424612302182E-2</c:v>
                </c:pt>
                <c:pt idx="8">
                  <c:v>1.9989099110484316E-2</c:v>
                </c:pt>
                <c:pt idx="9">
                  <c:v>1.7870804273926195E-2</c:v>
                </c:pt>
                <c:pt idx="10">
                  <c:v>1.7173328871122485E-2</c:v>
                </c:pt>
                <c:pt idx="11">
                  <c:v>1.7142857142857144E-2</c:v>
                </c:pt>
                <c:pt idx="12">
                  <c:v>1.6757754164672248E-2</c:v>
                </c:pt>
                <c:pt idx="13">
                  <c:v>1.6541704024741248E-2</c:v>
                </c:pt>
                <c:pt idx="14">
                  <c:v>1.6402094171435875E-2</c:v>
                </c:pt>
                <c:pt idx="15">
                  <c:v>1.6104071960537768E-2</c:v>
                </c:pt>
                <c:pt idx="16">
                  <c:v>1.5569778467373502E-2</c:v>
                </c:pt>
                <c:pt idx="17">
                  <c:v>1.5341684887951037E-2</c:v>
                </c:pt>
                <c:pt idx="18">
                  <c:v>1.4732208757733135E-2</c:v>
                </c:pt>
                <c:pt idx="19" formatCode="0.0000000">
                  <c:v>1.4154314657717286E-2</c:v>
                </c:pt>
                <c:pt idx="20">
                  <c:v>1.2871309272710381E-2</c:v>
                </c:pt>
                <c:pt idx="21">
                  <c:v>1.2782030960169978E-2</c:v>
                </c:pt>
                <c:pt idx="22">
                  <c:v>1.2251107670954999E-2</c:v>
                </c:pt>
                <c:pt idx="23">
                  <c:v>1.0524335173105871E-2</c:v>
                </c:pt>
                <c:pt idx="24">
                  <c:v>8.9117184115770302E-3</c:v>
                </c:pt>
                <c:pt idx="25">
                  <c:v>8.244151498543283E-3</c:v>
                </c:pt>
                <c:pt idx="26">
                  <c:v>7.4451123104531782E-3</c:v>
                </c:pt>
                <c:pt idx="27">
                  <c:v>7.2766057666017875E-3</c:v>
                </c:pt>
                <c:pt idx="28">
                  <c:v>4.5929291773589842E-3</c:v>
                </c:pt>
                <c:pt idx="29">
                  <c:v>4.5022103611954281E-3</c:v>
                </c:pt>
                <c:pt idx="30">
                  <c:v>2.616140795941017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01590432"/>
        <c:axId val="401589256"/>
      </c:barChart>
      <c:catAx>
        <c:axId val="401590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89256"/>
        <c:crosses val="autoZero"/>
        <c:auto val="1"/>
        <c:lblAlgn val="ctr"/>
        <c:lblOffset val="100"/>
        <c:noMultiLvlLbl val="0"/>
      </c:catAx>
      <c:valAx>
        <c:axId val="401589256"/>
        <c:scaling>
          <c:orientation val="minMax"/>
        </c:scaling>
        <c:delete val="0"/>
        <c:axPos val="l"/>
        <c:numFmt formatCode="0.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90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Portugalsko</c:v>
                </c:pt>
                <c:pt idx="1">
                  <c:v>Irsko</c:v>
                </c:pt>
                <c:pt idx="2">
                  <c:v>Malta</c:v>
                </c:pt>
                <c:pt idx="3">
                  <c:v>Island</c:v>
                </c:pt>
                <c:pt idx="4">
                  <c:v>Norsko</c:v>
                </c:pt>
                <c:pt idx="5">
                  <c:v>Španělsko</c:v>
                </c:pt>
                <c:pt idx="6">
                  <c:v>Dánsko</c:v>
                </c:pt>
                <c:pt idx="7">
                  <c:v>Francie</c:v>
                </c:pt>
                <c:pt idx="8">
                  <c:v>Finsko</c:v>
                </c:pt>
                <c:pt idx="9">
                  <c:v>Belgie</c:v>
                </c:pt>
                <c:pt idx="10">
                  <c:v>Itálie</c:v>
                </c:pt>
                <c:pt idx="11">
                  <c:v>Nizozemsko</c:v>
                </c:pt>
                <c:pt idx="12">
                  <c:v>Švédsko</c:v>
                </c:pt>
                <c:pt idx="13">
                  <c:v>Německo</c:v>
                </c:pt>
                <c:pt idx="14">
                  <c:v>Kypr</c:v>
                </c:pt>
                <c:pt idx="15">
                  <c:v>Lucembursko</c:v>
                </c:pt>
                <c:pt idx="16">
                  <c:v>Rakousko</c:v>
                </c:pt>
                <c:pt idx="17">
                  <c:v>Litva</c:v>
                </c:pt>
                <c:pt idx="18">
                  <c:v>Lichtenštejnsko</c:v>
                </c:pt>
                <c:pt idx="19">
                  <c:v>Řecko</c:v>
                </c:pt>
                <c:pt idx="20">
                  <c:v>Maďarsko</c:v>
                </c:pt>
                <c:pt idx="21">
                  <c:v>Estonsko</c:v>
                </c:pt>
                <c:pt idx="22">
                  <c:v>Česká republika</c:v>
                </c:pt>
                <c:pt idx="23">
                  <c:v>Slovinsko</c:v>
                </c:pt>
                <c:pt idx="24">
                  <c:v>Polsko</c:v>
                </c:pt>
                <c:pt idx="25">
                  <c:v>Lotyšsko</c:v>
                </c:pt>
                <c:pt idx="26">
                  <c:v>Chorvat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98399999999999999</c:v>
                </c:pt>
                <c:pt idx="1">
                  <c:v>0.93200000000000005</c:v>
                </c:pt>
                <c:pt idx="2">
                  <c:v>0.92400000000000004</c:v>
                </c:pt>
                <c:pt idx="3">
                  <c:v>0.92100000000000004</c:v>
                </c:pt>
                <c:pt idx="4">
                  <c:v>0.91700000000000004</c:v>
                </c:pt>
                <c:pt idx="5">
                  <c:v>0.90700000000000003</c:v>
                </c:pt>
                <c:pt idx="6">
                  <c:v>0.89200000000000002</c:v>
                </c:pt>
                <c:pt idx="7">
                  <c:v>0.89200000000000002</c:v>
                </c:pt>
                <c:pt idx="8">
                  <c:v>0.872</c:v>
                </c:pt>
                <c:pt idx="9">
                  <c:v>0.871</c:v>
                </c:pt>
                <c:pt idx="10">
                  <c:v>0.871</c:v>
                </c:pt>
                <c:pt idx="11">
                  <c:v>0.871</c:v>
                </c:pt>
                <c:pt idx="12">
                  <c:v>0.85199999999999998</c:v>
                </c:pt>
                <c:pt idx="13">
                  <c:v>0.82399999999999995</c:v>
                </c:pt>
                <c:pt idx="14">
                  <c:v>0.81100000000000005</c:v>
                </c:pt>
                <c:pt idx="15">
                  <c:v>0.76700000000000002</c:v>
                </c:pt>
                <c:pt idx="16">
                  <c:v>0.75900000000000001</c:v>
                </c:pt>
                <c:pt idx="17">
                  <c:v>0.748</c:v>
                </c:pt>
                <c:pt idx="18">
                  <c:v>0.746</c:v>
                </c:pt>
                <c:pt idx="19">
                  <c:v>0.71299999999999997</c:v>
                </c:pt>
                <c:pt idx="20">
                  <c:v>0.69199999999999995</c:v>
                </c:pt>
                <c:pt idx="21">
                  <c:v>0.67900000000000005</c:v>
                </c:pt>
                <c:pt idx="22">
                  <c:v>0.67500000000000004</c:v>
                </c:pt>
                <c:pt idx="23">
                  <c:v>0.64100000000000001</c:v>
                </c:pt>
                <c:pt idx="24">
                  <c:v>0.63300000000000001</c:v>
                </c:pt>
                <c:pt idx="25">
                  <c:v>0.57799999999999996</c:v>
                </c:pt>
                <c:pt idx="26">
                  <c:v>0.54700000000000004</c:v>
                </c:pt>
                <c:pt idx="27">
                  <c:v>0.53700000000000003</c:v>
                </c:pt>
                <c:pt idx="28">
                  <c:v>0.36299999999999999</c:v>
                </c:pt>
                <c:pt idx="29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89600"/>
        <c:axId val="359286464"/>
      </c:barChart>
      <c:catAx>
        <c:axId val="359289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464"/>
        <c:crosses val="autoZero"/>
        <c:auto val="1"/>
        <c:lblAlgn val="ctr"/>
        <c:lblOffset val="100"/>
        <c:noMultiLvlLbl val="0"/>
      </c:catAx>
      <c:valAx>
        <c:axId val="359286464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9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Irsko</c:v>
                </c:pt>
                <c:pt idx="1">
                  <c:v>Malta</c:v>
                </c:pt>
                <c:pt idx="2">
                  <c:v>Island</c:v>
                </c:pt>
                <c:pt idx="3">
                  <c:v>Portugalsko</c:v>
                </c:pt>
                <c:pt idx="4">
                  <c:v>Dánsko</c:v>
                </c:pt>
                <c:pt idx="5">
                  <c:v>Norsko</c:v>
                </c:pt>
                <c:pt idx="6">
                  <c:v>Belgie</c:v>
                </c:pt>
                <c:pt idx="7">
                  <c:v>Španělsko</c:v>
                </c:pt>
                <c:pt idx="8">
                  <c:v>Švédsko</c:v>
                </c:pt>
                <c:pt idx="9">
                  <c:v>Francie</c:v>
                </c:pt>
                <c:pt idx="10">
                  <c:v>Finsko</c:v>
                </c:pt>
                <c:pt idx="11">
                  <c:v>Itálie</c:v>
                </c:pt>
                <c:pt idx="12">
                  <c:v>Nizozemsko</c:v>
                </c:pt>
                <c:pt idx="13">
                  <c:v>Kypr</c:v>
                </c:pt>
                <c:pt idx="14">
                  <c:v>Německo</c:v>
                </c:pt>
                <c:pt idx="15">
                  <c:v>Lucembursko</c:v>
                </c:pt>
                <c:pt idx="16">
                  <c:v>Rakousko</c:v>
                </c:pt>
                <c:pt idx="17">
                  <c:v>Litva</c:v>
                </c:pt>
                <c:pt idx="18">
                  <c:v>Řecko</c:v>
                </c:pt>
                <c:pt idx="19">
                  <c:v>Maďarsko</c:v>
                </c:pt>
                <c:pt idx="20">
                  <c:v>Česká republika</c:v>
                </c:pt>
                <c:pt idx="21">
                  <c:v>Lichtenštejnsko</c:v>
                </c:pt>
                <c:pt idx="22">
                  <c:v>Estonsko</c:v>
                </c:pt>
                <c:pt idx="23">
                  <c:v>Polsko</c:v>
                </c:pt>
                <c:pt idx="24">
                  <c:v>Slovinsko</c:v>
                </c:pt>
                <c:pt idx="25">
                  <c:v>Lotyšsko</c:v>
                </c:pt>
                <c:pt idx="26">
                  <c:v>Slovensko</c:v>
                </c:pt>
                <c:pt idx="27">
                  <c:v>Chorvat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92</c:v>
                </c:pt>
                <c:pt idx="1">
                  <c:v>0.91100000000000003</c:v>
                </c:pt>
                <c:pt idx="2">
                  <c:v>0.91100000000000003</c:v>
                </c:pt>
                <c:pt idx="3">
                  <c:v>0.91</c:v>
                </c:pt>
                <c:pt idx="4">
                  <c:v>0.88</c:v>
                </c:pt>
                <c:pt idx="5">
                  <c:v>0.86799999999999999</c:v>
                </c:pt>
                <c:pt idx="6">
                  <c:v>0.85799999999999998</c:v>
                </c:pt>
                <c:pt idx="7">
                  <c:v>0.83099999999999996</c:v>
                </c:pt>
                <c:pt idx="8">
                  <c:v>0.80800000000000005</c:v>
                </c:pt>
                <c:pt idx="9">
                  <c:v>0.80100000000000005</c:v>
                </c:pt>
                <c:pt idx="10">
                  <c:v>0.79600000000000004</c:v>
                </c:pt>
                <c:pt idx="11">
                  <c:v>0.79300000000000004</c:v>
                </c:pt>
                <c:pt idx="12">
                  <c:v>0.79200000000000004</c:v>
                </c:pt>
                <c:pt idx="13">
                  <c:v>0.78900000000000003</c:v>
                </c:pt>
                <c:pt idx="14">
                  <c:v>0.78700000000000003</c:v>
                </c:pt>
                <c:pt idx="15">
                  <c:v>0.748</c:v>
                </c:pt>
                <c:pt idx="16">
                  <c:v>0.72299999999999998</c:v>
                </c:pt>
                <c:pt idx="17">
                  <c:v>0.71</c:v>
                </c:pt>
                <c:pt idx="18">
                  <c:v>0.69099999999999995</c:v>
                </c:pt>
                <c:pt idx="19">
                  <c:v>0.66800000000000004</c:v>
                </c:pt>
                <c:pt idx="20">
                  <c:v>0.66500000000000004</c:v>
                </c:pt>
                <c:pt idx="21">
                  <c:v>0.66300000000000003</c:v>
                </c:pt>
                <c:pt idx="22">
                  <c:v>0.64400000000000002</c:v>
                </c:pt>
                <c:pt idx="23">
                  <c:v>0.60899999999999999</c:v>
                </c:pt>
                <c:pt idx="24">
                  <c:v>0.59599999999999997</c:v>
                </c:pt>
                <c:pt idx="25">
                  <c:v>0.54100000000000004</c:v>
                </c:pt>
                <c:pt idx="26">
                  <c:v>0.52400000000000002</c:v>
                </c:pt>
                <c:pt idx="27">
                  <c:v>0.51400000000000001</c:v>
                </c:pt>
                <c:pt idx="28">
                  <c:v>0.34799999999999998</c:v>
                </c:pt>
                <c:pt idx="29">
                  <c:v>0.23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93128"/>
        <c:axId val="359286856"/>
      </c:barChart>
      <c:catAx>
        <c:axId val="359293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856"/>
        <c:crosses val="autoZero"/>
        <c:auto val="1"/>
        <c:lblAlgn val="ctr"/>
        <c:lblOffset val="100"/>
        <c:noMultiLvlLbl val="0"/>
      </c:catAx>
      <c:valAx>
        <c:axId val="359286856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147262593113503E-2"/>
          <c:y val="4.8800639884654412E-2"/>
          <c:w val="0.86121607542845235"/>
          <c:h val="0.82460070750847803"/>
        </c:manualLayout>
      </c:layout>
      <c:scatterChart>
        <c:scatterStyle val="lineMarker"/>
        <c:varyColors val="0"/>
        <c:ser>
          <c:idx val="0"/>
          <c:order val="0"/>
          <c:tx>
            <c:strRef>
              <c:f>List1!$C$3</c:f>
              <c:strCache>
                <c:ptCount val="1"/>
                <c:pt idx="0">
                  <c:v>B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649603554792684E-2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</c:f>
              <c:numCache>
                <c:formatCode>0.0%</c:formatCode>
                <c:ptCount val="1"/>
                <c:pt idx="0">
                  <c:v>0.871</c:v>
                </c:pt>
              </c:numCache>
            </c:numRef>
          </c:xVal>
          <c:yVal>
            <c:numRef>
              <c:f>List1!$A$3</c:f>
              <c:numCache>
                <c:formatCode>0.0%</c:formatCode>
                <c:ptCount val="1"/>
                <c:pt idx="0">
                  <c:v>0.857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5A2-44FB-8F7B-9BC1EF59F5D8}"/>
            </c:ext>
          </c:extLst>
        </c:ser>
        <c:ser>
          <c:idx val="1"/>
          <c:order val="1"/>
          <c:tx>
            <c:strRef>
              <c:f>List1!$C$2</c:f>
              <c:strCache>
                <c:ptCount val="1"/>
                <c:pt idx="0">
                  <c:v>A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241146925265611E-2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</c:f>
              <c:numCache>
                <c:formatCode>0.0%</c:formatCode>
                <c:ptCount val="1"/>
                <c:pt idx="0">
                  <c:v>0.75900000000000001</c:v>
                </c:pt>
              </c:numCache>
            </c:numRef>
          </c:xVal>
          <c:yVal>
            <c:numRef>
              <c:f>List1!$A$2</c:f>
              <c:numCache>
                <c:formatCode>0.0%</c:formatCode>
                <c:ptCount val="1"/>
                <c:pt idx="0">
                  <c:v>0.722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5A2-44FB-8F7B-9BC1EF59F5D8}"/>
            </c:ext>
          </c:extLst>
        </c:ser>
        <c:ser>
          <c:idx val="2"/>
          <c:order val="2"/>
          <c:tx>
            <c:strRef>
              <c:f>List1!$C$4</c:f>
              <c:strCache>
                <c:ptCount val="1"/>
                <c:pt idx="0">
                  <c:v>BG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47606396832839E-2"/>
                  <c:y val="2.33318636096409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4</c:f>
              <c:numCache>
                <c:formatCode>0.0%</c:formatCode>
                <c:ptCount val="1"/>
                <c:pt idx="0">
                  <c:v>0.25</c:v>
                </c:pt>
              </c:numCache>
            </c:numRef>
          </c:xVal>
          <c:yVal>
            <c:numRef>
              <c:f>List1!$A$4</c:f>
              <c:numCache>
                <c:formatCode>0.0%</c:formatCode>
                <c:ptCount val="1"/>
                <c:pt idx="0">
                  <c:v>0.238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149-402E-9150-02BFAEF7D23C}"/>
            </c:ext>
          </c:extLst>
        </c:ser>
        <c:ser>
          <c:idx val="3"/>
          <c:order val="3"/>
          <c:tx>
            <c:strRef>
              <c:f>List1!$C$5</c:f>
              <c:strCache>
                <c:ptCount val="1"/>
                <c:pt idx="0">
                  <c:v>H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9652783377781898E-2"/>
                  <c:y val="1.866549088771311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5</c:f>
              <c:numCache>
                <c:formatCode>0.0%</c:formatCode>
                <c:ptCount val="1"/>
                <c:pt idx="0">
                  <c:v>0.54700000000000004</c:v>
                </c:pt>
              </c:numCache>
            </c:numRef>
          </c:xVal>
          <c:yVal>
            <c:numRef>
              <c:f>List1!$A$5</c:f>
              <c:numCache>
                <c:formatCode>0.0%</c:formatCode>
                <c:ptCount val="1"/>
                <c:pt idx="0">
                  <c:v>0.514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149-402E-9150-02BFAEF7D23C}"/>
            </c:ext>
          </c:extLst>
        </c:ser>
        <c:ser>
          <c:idx val="4"/>
          <c:order val="4"/>
          <c:tx>
            <c:strRef>
              <c:f>List1!$C$6</c:f>
              <c:strCache>
                <c:ptCount val="1"/>
                <c:pt idx="0">
                  <c:v>CY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500041635527721E-2"/>
                  <c:y val="-1.6332304526749015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6</c:f>
              <c:numCache>
                <c:formatCode>0.0%</c:formatCode>
                <c:ptCount val="1"/>
                <c:pt idx="0">
                  <c:v>0.81100000000000005</c:v>
                </c:pt>
              </c:numCache>
            </c:numRef>
          </c:xVal>
          <c:yVal>
            <c:numRef>
              <c:f>List1!$A$6</c:f>
              <c:numCache>
                <c:formatCode>0.0%</c:formatCode>
                <c:ptCount val="1"/>
                <c:pt idx="0">
                  <c:v>0.789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149-402E-9150-02BFAEF7D23C}"/>
            </c:ext>
          </c:extLst>
        </c:ser>
        <c:ser>
          <c:idx val="5"/>
          <c:order val="5"/>
          <c:tx>
            <c:strRef>
              <c:f>List1!$C$7</c:f>
              <c:strCache>
                <c:ptCount val="1"/>
                <c:pt idx="0">
                  <c:v>CZ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039744103968702E-2"/>
                  <c:y val="-2.3331863609641814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7</c:f>
              <c:numCache>
                <c:formatCode>0.0%</c:formatCode>
                <c:ptCount val="1"/>
                <c:pt idx="0">
                  <c:v>0.67500000000000004</c:v>
                </c:pt>
              </c:numCache>
            </c:numRef>
          </c:xVal>
          <c:yVal>
            <c:numRef>
              <c:f>List1!$A$7</c:f>
              <c:numCache>
                <c:formatCode>0.0%</c:formatCode>
                <c:ptCount val="1"/>
                <c:pt idx="0">
                  <c:v>0.665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149-402E-9150-02BFAEF7D23C}"/>
            </c:ext>
          </c:extLst>
        </c:ser>
        <c:ser>
          <c:idx val="6"/>
          <c:order val="6"/>
          <c:tx>
            <c:strRef>
              <c:f>List1!$C$8</c:f>
              <c:strCache>
                <c:ptCount val="1"/>
                <c:pt idx="0">
                  <c:v>D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945375240029266E-2"/>
                  <c:y val="-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8</c:f>
              <c:numCache>
                <c:formatCode>0.0%</c:formatCode>
                <c:ptCount val="1"/>
                <c:pt idx="0">
                  <c:v>0.89200000000000002</c:v>
                </c:pt>
              </c:numCache>
            </c:numRef>
          </c:xVal>
          <c:yVal>
            <c:numRef>
              <c:f>List1!$A$8</c:f>
              <c:numCache>
                <c:formatCode>0.0%</c:formatCode>
                <c:ptCount val="1"/>
                <c:pt idx="0">
                  <c:v>0.8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9149-402E-9150-02BFAEF7D23C}"/>
            </c:ext>
          </c:extLst>
        </c:ser>
        <c:ser>
          <c:idx val="7"/>
          <c:order val="7"/>
          <c:tx>
            <c:strRef>
              <c:f>List1!$C$9</c:f>
              <c:strCache>
                <c:ptCount val="1"/>
                <c:pt idx="0">
                  <c:v>E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1148348634992709E-2"/>
                  <c:y val="1.399911816578479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9</c:f>
              <c:numCache>
                <c:formatCode>0.0%</c:formatCode>
                <c:ptCount val="1"/>
                <c:pt idx="0">
                  <c:v>0.67900000000000005</c:v>
                </c:pt>
              </c:numCache>
            </c:numRef>
          </c:xVal>
          <c:yVal>
            <c:numRef>
              <c:f>List1!$A$9</c:f>
              <c:numCache>
                <c:formatCode>0.0%</c:formatCode>
                <c:ptCount val="1"/>
                <c:pt idx="0">
                  <c:v>0.644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9149-402E-9150-02BFAEF7D23C}"/>
            </c:ext>
          </c:extLst>
        </c:ser>
        <c:ser>
          <c:idx val="8"/>
          <c:order val="8"/>
          <c:tx>
            <c:strRef>
              <c:f>List1!$C$10</c:f>
              <c:strCache>
                <c:ptCount val="1"/>
                <c:pt idx="0">
                  <c:v>F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1.7008869485578133E-2"/>
                  <c:y val="3.7330981775426174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0</c:f>
              <c:numCache>
                <c:formatCode>0.0%</c:formatCode>
                <c:ptCount val="1"/>
                <c:pt idx="0">
                  <c:v>0.872</c:v>
                </c:pt>
              </c:numCache>
            </c:numRef>
          </c:xVal>
          <c:yVal>
            <c:numRef>
              <c:f>List1!$A$10</c:f>
              <c:numCache>
                <c:formatCode>0.0%</c:formatCode>
                <c:ptCount val="1"/>
                <c:pt idx="0">
                  <c:v>0.796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9149-402E-9150-02BFAEF7D23C}"/>
            </c:ext>
          </c:extLst>
        </c:ser>
        <c:ser>
          <c:idx val="9"/>
          <c:order val="9"/>
          <c:tx>
            <c:strRef>
              <c:f>List1!$C$11</c:f>
              <c:strCache>
                <c:ptCount val="1"/>
                <c:pt idx="0">
                  <c:v>F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7100108515470548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1</c:f>
              <c:numCache>
                <c:formatCode>0.0%</c:formatCode>
                <c:ptCount val="1"/>
                <c:pt idx="0">
                  <c:v>0.89200000000000002</c:v>
                </c:pt>
              </c:numCache>
            </c:numRef>
          </c:xVal>
          <c:yVal>
            <c:numRef>
              <c:f>List1!$A$11</c:f>
              <c:numCache>
                <c:formatCode>0.0%</c:formatCode>
                <c:ptCount val="1"/>
                <c:pt idx="0">
                  <c:v>0.801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9149-402E-9150-02BFAEF7D23C}"/>
            </c:ext>
          </c:extLst>
        </c:ser>
        <c:ser>
          <c:idx val="10"/>
          <c:order val="10"/>
          <c:tx>
            <c:strRef>
              <c:f>List1!$C$12</c:f>
              <c:strCache>
                <c:ptCount val="1"/>
                <c:pt idx="0">
                  <c:v>D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581573733493947E-2"/>
                  <c:y val="1.4664168136390359E-2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2</c:f>
              <c:numCache>
                <c:formatCode>0.0%</c:formatCode>
                <c:ptCount val="1"/>
                <c:pt idx="0">
                  <c:v>0.82399999999999995</c:v>
                </c:pt>
              </c:numCache>
            </c:numRef>
          </c:xVal>
          <c:yVal>
            <c:numRef>
              <c:f>List1!$A$12</c:f>
              <c:numCache>
                <c:formatCode>0.0%</c:formatCode>
                <c:ptCount val="1"/>
                <c:pt idx="0">
                  <c:v>0.787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9149-402E-9150-02BFAEF7D23C}"/>
            </c:ext>
          </c:extLst>
        </c:ser>
        <c:ser>
          <c:idx val="11"/>
          <c:order val="11"/>
          <c:tx>
            <c:strRef>
              <c:f>List1!$C$13</c:f>
              <c:strCache>
                <c:ptCount val="1"/>
                <c:pt idx="0">
                  <c:v>E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60000"/>
                </a:schemeClr>
              </a:solidFill>
              <a:ln w="9525">
                <a:solidFill>
                  <a:schemeClr val="accent6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9854186199078862E-2"/>
                  <c:y val="-1.866549088771311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3</c:f>
              <c:numCache>
                <c:formatCode>0.0%</c:formatCode>
                <c:ptCount val="1"/>
                <c:pt idx="0">
                  <c:v>0.71299999999999997</c:v>
                </c:pt>
              </c:numCache>
            </c:numRef>
          </c:xVal>
          <c:yVal>
            <c:numRef>
              <c:f>List1!$A$13</c:f>
              <c:numCache>
                <c:formatCode>0.0%</c:formatCode>
                <c:ptCount val="1"/>
                <c:pt idx="0">
                  <c:v>0.690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9149-402E-9150-02BFAEF7D23C}"/>
            </c:ext>
          </c:extLst>
        </c:ser>
        <c:ser>
          <c:idx val="12"/>
          <c:order val="12"/>
          <c:tx>
            <c:strRef>
              <c:f>List1!$C$14</c:f>
              <c:strCache>
                <c:ptCount val="1"/>
                <c:pt idx="0">
                  <c:v>H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  <a:lumOff val="20000"/>
                </a:schemeClr>
              </a:solidFill>
              <a:ln w="9525">
                <a:solidFill>
                  <a:schemeClr val="accent1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644398127203706E-2"/>
                  <c:y val="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4</c:f>
              <c:numCache>
                <c:formatCode>0.0%</c:formatCode>
                <c:ptCount val="1"/>
                <c:pt idx="0">
                  <c:v>0.69199999999999995</c:v>
                </c:pt>
              </c:numCache>
            </c:numRef>
          </c:xVal>
          <c:yVal>
            <c:numRef>
              <c:f>List1!$A$14</c:f>
              <c:numCache>
                <c:formatCode>0.0%</c:formatCode>
                <c:ptCount val="1"/>
                <c:pt idx="0">
                  <c:v>0.668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9149-402E-9150-02BFAEF7D23C}"/>
            </c:ext>
          </c:extLst>
        </c:ser>
        <c:ser>
          <c:idx val="13"/>
          <c:order val="13"/>
          <c:tx>
            <c:strRef>
              <c:f>List1!$C$15</c:f>
              <c:strCache>
                <c:ptCount val="1"/>
                <c:pt idx="0">
                  <c:v>I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  <a:lumOff val="20000"/>
                </a:schemeClr>
              </a:solidFill>
              <a:ln w="9525">
                <a:solidFill>
                  <a:schemeClr val="accent2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6736135073281818E-2"/>
                  <c:y val="-3.0331422692533805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5</c:f>
              <c:numCache>
                <c:formatCode>0.0%</c:formatCode>
                <c:ptCount val="1"/>
                <c:pt idx="0">
                  <c:v>0.92100000000000004</c:v>
                </c:pt>
              </c:numCache>
            </c:numRef>
          </c:xVal>
          <c:yVal>
            <c:numRef>
              <c:f>List1!$A$15</c:f>
              <c:numCache>
                <c:formatCode>0.0%</c:formatCode>
                <c:ptCount val="1"/>
                <c:pt idx="0">
                  <c:v>0.911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9149-402E-9150-02BFAEF7D23C}"/>
            </c:ext>
          </c:extLst>
        </c:ser>
        <c:ser>
          <c:idx val="14"/>
          <c:order val="14"/>
          <c:tx>
            <c:strRef>
              <c:f>List1!$C$16</c:f>
              <c:strCache>
                <c:ptCount val="1"/>
                <c:pt idx="0">
                  <c:v>I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  <a:lumOff val="20000"/>
                </a:schemeClr>
              </a:solidFill>
              <a:ln w="9525">
                <a:solidFill>
                  <a:schemeClr val="accent3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1584699489494617E-2"/>
                  <c:y val="-2.7998236331569663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6</c:f>
              <c:numCache>
                <c:formatCode>0.0%</c:formatCode>
                <c:ptCount val="1"/>
                <c:pt idx="0">
                  <c:v>0.93200000000000005</c:v>
                </c:pt>
              </c:numCache>
            </c:numRef>
          </c:xVal>
          <c:yVal>
            <c:numRef>
              <c:f>List1!$A$16</c:f>
              <c:numCache>
                <c:formatCode>0.0%</c:formatCode>
                <c:ptCount val="1"/>
                <c:pt idx="0">
                  <c:v>0.9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9149-402E-9150-02BFAEF7D23C}"/>
            </c:ext>
          </c:extLst>
        </c:ser>
        <c:ser>
          <c:idx val="15"/>
          <c:order val="15"/>
          <c:tx>
            <c:strRef>
              <c:f>List1!$C$17</c:f>
              <c:strCache>
                <c:ptCount val="1"/>
                <c:pt idx="0">
                  <c:v>I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  <a:lumOff val="20000"/>
                </a:schemeClr>
              </a:solidFill>
              <a:ln w="9525">
                <a:solidFill>
                  <a:schemeClr val="accent4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957092122124164E-2"/>
                  <c:y val="5.0665233686066978E-2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7</c:f>
              <c:numCache>
                <c:formatCode>0.0%</c:formatCode>
                <c:ptCount val="1"/>
                <c:pt idx="0">
                  <c:v>0.871</c:v>
                </c:pt>
              </c:numCache>
            </c:numRef>
          </c:xVal>
          <c:yVal>
            <c:numRef>
              <c:f>List1!$A$17</c:f>
              <c:numCache>
                <c:formatCode>0.0%</c:formatCode>
                <c:ptCount val="1"/>
                <c:pt idx="0">
                  <c:v>0.793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9149-402E-9150-02BFAEF7D23C}"/>
            </c:ext>
          </c:extLst>
        </c:ser>
        <c:ser>
          <c:idx val="16"/>
          <c:order val="16"/>
          <c:tx>
            <c:strRef>
              <c:f>List1!$C$18</c:f>
              <c:strCache>
                <c:ptCount val="1"/>
                <c:pt idx="0">
                  <c:v>LV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  <a:lumOff val="20000"/>
                </a:schemeClr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5710409316044701E-3"/>
                  <c:y val="-4.666372721928362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8</c:f>
              <c:numCache>
                <c:formatCode>0.0%</c:formatCode>
                <c:ptCount val="1"/>
                <c:pt idx="0">
                  <c:v>0.57799999999999996</c:v>
                </c:pt>
              </c:numCache>
            </c:numRef>
          </c:xVal>
          <c:yVal>
            <c:numRef>
              <c:f>List1!$A$18</c:f>
              <c:numCache>
                <c:formatCode>0.0%</c:formatCode>
                <c:ptCount val="1"/>
                <c:pt idx="0">
                  <c:v>0.541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9149-402E-9150-02BFAEF7D23C}"/>
            </c:ext>
          </c:extLst>
        </c:ser>
        <c:ser>
          <c:idx val="28"/>
          <c:order val="17"/>
          <c:tx>
            <c:strRef>
              <c:f>List1!$C$19</c:f>
              <c:strCache>
                <c:ptCount val="1"/>
                <c:pt idx="0">
                  <c:v>LI</c:v>
                </c:pt>
              </c:strCache>
            </c:strRef>
          </c:tx>
          <c:spPr>
            <a:ln w="25400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75000"/>
                </a:schemeClr>
              </a:solidFill>
              <a:ln w="9525">
                <a:solidFill>
                  <a:schemeClr val="accent1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06821543813796E-3"/>
                  <c:y val="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9</c:f>
              <c:numCache>
                <c:formatCode>0.0%</c:formatCode>
                <c:ptCount val="1"/>
                <c:pt idx="0">
                  <c:v>0.746</c:v>
                </c:pt>
              </c:numCache>
            </c:numRef>
          </c:xVal>
          <c:yVal>
            <c:numRef>
              <c:f>List1!$A$19</c:f>
              <c:numCache>
                <c:formatCode>0.0%</c:formatCode>
                <c:ptCount val="1"/>
                <c:pt idx="0">
                  <c:v>0.663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70D-44E3-9271-C9D0012D0ABC}"/>
            </c:ext>
          </c:extLst>
        </c:ser>
        <c:ser>
          <c:idx val="17"/>
          <c:order val="18"/>
          <c:tx>
            <c:strRef>
              <c:f>List1!$C$20</c:f>
              <c:strCache>
                <c:ptCount val="1"/>
                <c:pt idx="0">
                  <c:v>L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  <a:lumOff val="20000"/>
                </a:schemeClr>
              </a:solidFill>
              <a:ln w="9525">
                <a:solidFill>
                  <a:schemeClr val="accent6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0178318453511706E-3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0</c:f>
              <c:numCache>
                <c:formatCode>0.0%</c:formatCode>
                <c:ptCount val="1"/>
                <c:pt idx="0">
                  <c:v>0.748</c:v>
                </c:pt>
              </c:numCache>
            </c:numRef>
          </c:xVal>
          <c:yVal>
            <c:numRef>
              <c:f>List1!$A$20</c:f>
              <c:numCache>
                <c:formatCode>0.0%</c:formatCode>
                <c:ptCount val="1"/>
                <c:pt idx="0">
                  <c:v>0.7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F-9149-402E-9150-02BFAEF7D23C}"/>
            </c:ext>
          </c:extLst>
        </c:ser>
        <c:ser>
          <c:idx val="18"/>
          <c:order val="19"/>
          <c:tx>
            <c:strRef>
              <c:f>List1!$C$21</c:f>
              <c:strCache>
                <c:ptCount val="1"/>
                <c:pt idx="0">
                  <c:v>L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</a:schemeClr>
              </a:solidFill>
              <a:ln w="9525">
                <a:solidFill>
                  <a:schemeClr val="accent1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4782306702951744E-2"/>
                  <c:y val="-1.399911816578483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1</c:f>
              <c:numCache>
                <c:formatCode>0.0%</c:formatCode>
                <c:ptCount val="1"/>
                <c:pt idx="0">
                  <c:v>0.76700000000000002</c:v>
                </c:pt>
              </c:numCache>
            </c:numRef>
          </c:xVal>
          <c:yVal>
            <c:numRef>
              <c:f>List1!$A$21</c:f>
              <c:numCache>
                <c:formatCode>0.0%</c:formatCode>
                <c:ptCount val="1"/>
                <c:pt idx="0">
                  <c:v>0.74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9149-402E-9150-02BFAEF7D23C}"/>
            </c:ext>
          </c:extLst>
        </c:ser>
        <c:ser>
          <c:idx val="19"/>
          <c:order val="20"/>
          <c:tx>
            <c:strRef>
              <c:f>List1!$C$22</c:f>
              <c:strCache>
                <c:ptCount val="1"/>
                <c:pt idx="0">
                  <c:v>M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</a:schemeClr>
              </a:solidFill>
              <a:ln w="9525">
                <a:solidFill>
                  <a:schemeClr val="accent2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7.9772618714202825E-2"/>
                  <c:y val="-5.3312389770723105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2</c:f>
              <c:numCache>
                <c:formatCode>0.0%</c:formatCode>
                <c:ptCount val="1"/>
                <c:pt idx="0">
                  <c:v>0.92400000000000004</c:v>
                </c:pt>
              </c:numCache>
            </c:numRef>
          </c:xVal>
          <c:yVal>
            <c:numRef>
              <c:f>List1!$A$22</c:f>
              <c:numCache>
                <c:formatCode>0.0%</c:formatCode>
                <c:ptCount val="1"/>
                <c:pt idx="0">
                  <c:v>0.911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9149-402E-9150-02BFAEF7D23C}"/>
            </c:ext>
          </c:extLst>
        </c:ser>
        <c:ser>
          <c:idx val="20"/>
          <c:order val="21"/>
          <c:tx>
            <c:strRef>
              <c:f>List1!$C$23</c:f>
              <c:strCache>
                <c:ptCount val="1"/>
                <c:pt idx="0">
                  <c:v>N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</a:schemeClr>
              </a:solidFill>
              <a:ln w="9525">
                <a:solidFill>
                  <a:schemeClr val="accent3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306863179341517E-2"/>
                  <c:y val="6.06628453850676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3</c:f>
              <c:numCache>
                <c:formatCode>0.0%</c:formatCode>
                <c:ptCount val="1"/>
                <c:pt idx="0">
                  <c:v>0.871</c:v>
                </c:pt>
              </c:numCache>
            </c:numRef>
          </c:xVal>
          <c:yVal>
            <c:numRef>
              <c:f>List1!$A$23</c:f>
              <c:numCache>
                <c:formatCode>0.0%</c:formatCode>
                <c:ptCount val="1"/>
                <c:pt idx="0">
                  <c:v>0.792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9149-402E-9150-02BFAEF7D23C}"/>
            </c:ext>
          </c:extLst>
        </c:ser>
        <c:ser>
          <c:idx val="21"/>
          <c:order val="22"/>
          <c:tx>
            <c:strRef>
              <c:f>List1!$C$24</c:f>
              <c:strCache>
                <c:ptCount val="1"/>
                <c:pt idx="0">
                  <c:v>N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</a:schemeClr>
              </a:solidFill>
              <a:ln w="9525">
                <a:solidFill>
                  <a:schemeClr val="accent4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5710409316044701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4</c:f>
              <c:numCache>
                <c:formatCode>0.0%</c:formatCode>
                <c:ptCount val="1"/>
                <c:pt idx="0">
                  <c:v>0.91700000000000004</c:v>
                </c:pt>
              </c:numCache>
            </c:numRef>
          </c:xVal>
          <c:yVal>
            <c:numRef>
              <c:f>List1!$A$24</c:f>
              <c:numCache>
                <c:formatCode>0.0%</c:formatCode>
                <c:ptCount val="1"/>
                <c:pt idx="0">
                  <c:v>0.867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3-9149-402E-9150-02BFAEF7D23C}"/>
            </c:ext>
          </c:extLst>
        </c:ser>
        <c:ser>
          <c:idx val="22"/>
          <c:order val="23"/>
          <c:tx>
            <c:strRef>
              <c:f>List1!$C$25</c:f>
              <c:strCache>
                <c:ptCount val="1"/>
                <c:pt idx="0">
                  <c:v>P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</a:schemeClr>
              </a:solidFill>
              <a:ln w="25400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2.278548652594089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5</c:f>
              <c:numCache>
                <c:formatCode>0.0%</c:formatCode>
                <c:ptCount val="1"/>
                <c:pt idx="0">
                  <c:v>0.63300000000000001</c:v>
                </c:pt>
              </c:numCache>
            </c:numRef>
          </c:xVal>
          <c:yVal>
            <c:numRef>
              <c:f>List1!$A$25</c:f>
              <c:numCache>
                <c:formatCode>0.0%</c:formatCode>
                <c:ptCount val="1"/>
                <c:pt idx="0">
                  <c:v>0.608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9149-402E-9150-02BFAEF7D23C}"/>
            </c:ext>
          </c:extLst>
        </c:ser>
        <c:ser>
          <c:idx val="23"/>
          <c:order val="24"/>
          <c:tx>
            <c:strRef>
              <c:f>List1!$C$26</c:f>
              <c:strCache>
                <c:ptCount val="1"/>
                <c:pt idx="0">
                  <c:v>P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</a:schemeClr>
              </a:solidFill>
              <a:ln w="9525">
                <a:solidFill>
                  <a:schemeClr val="accent6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593084740072622E-2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6</c:f>
              <c:numCache>
                <c:formatCode>0.0%</c:formatCode>
                <c:ptCount val="1"/>
                <c:pt idx="0">
                  <c:v>0.98399999999999999</c:v>
                </c:pt>
              </c:numCache>
            </c:numRef>
          </c:xVal>
          <c:yVal>
            <c:numRef>
              <c:f>List1!$A$26</c:f>
              <c:numCache>
                <c:formatCode>0.0%</c:formatCode>
                <c:ptCount val="1"/>
                <c:pt idx="0">
                  <c:v>0.9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5-9149-402E-9150-02BFAEF7D23C}"/>
            </c:ext>
          </c:extLst>
        </c:ser>
        <c:ser>
          <c:idx val="24"/>
          <c:order val="25"/>
          <c:tx>
            <c:strRef>
              <c:f>List1!$C$27</c:f>
              <c:strCache>
                <c:ptCount val="1"/>
                <c:pt idx="0">
                  <c:v>R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1546595822263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7</c:f>
              <c:numCache>
                <c:formatCode>0.0%</c:formatCode>
                <c:ptCount val="1"/>
                <c:pt idx="0">
                  <c:v>0.36299999999999999</c:v>
                </c:pt>
              </c:numCache>
            </c:numRef>
          </c:xVal>
          <c:yVal>
            <c:numRef>
              <c:f>List1!$A$27</c:f>
              <c:numCache>
                <c:formatCode>0.0%</c:formatCode>
                <c:ptCount val="1"/>
                <c:pt idx="0">
                  <c:v>0.347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6-9149-402E-9150-02BFAEF7D23C}"/>
            </c:ext>
          </c:extLst>
        </c:ser>
        <c:ser>
          <c:idx val="25"/>
          <c:order val="26"/>
          <c:tx>
            <c:strRef>
              <c:f>List1!$C$28</c:f>
              <c:strCache>
                <c:ptCount val="1"/>
                <c:pt idx="0">
                  <c:v>S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chemeClr val="accent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67688199491670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8</c:f>
              <c:numCache>
                <c:formatCode>0.0%</c:formatCode>
                <c:ptCount val="1"/>
                <c:pt idx="0">
                  <c:v>0.53700000000000003</c:v>
                </c:pt>
              </c:numCache>
            </c:numRef>
          </c:xVal>
          <c:yVal>
            <c:numRef>
              <c:f>List1!$A$28</c:f>
              <c:numCache>
                <c:formatCode>0.0%</c:formatCode>
                <c:ptCount val="1"/>
                <c:pt idx="0">
                  <c:v>0.524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9149-402E-9150-02BFAEF7D23C}"/>
            </c:ext>
          </c:extLst>
        </c:ser>
        <c:ser>
          <c:idx val="26"/>
          <c:order val="27"/>
          <c:tx>
            <c:strRef>
              <c:f>List1!$C$29</c:f>
              <c:strCache>
                <c:ptCount val="1"/>
                <c:pt idx="0">
                  <c:v>S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  <a:lumOff val="40000"/>
                </a:schemeClr>
              </a:solidFill>
              <a:ln w="9525">
                <a:solidFill>
                  <a:schemeClr val="accent3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6539042558733136E-2"/>
                  <c:y val="-1.399911816578483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9</c:f>
              <c:numCache>
                <c:formatCode>0.0%</c:formatCode>
                <c:ptCount val="1"/>
                <c:pt idx="0">
                  <c:v>0.64100000000000001</c:v>
                </c:pt>
              </c:numCache>
            </c:numRef>
          </c:xVal>
          <c:yVal>
            <c:numRef>
              <c:f>List1!$A$29</c:f>
              <c:numCache>
                <c:formatCode>0.0%</c:formatCode>
                <c:ptCount val="1"/>
                <c:pt idx="0">
                  <c:v>0.5959999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9149-402E-9150-02BFAEF7D23C}"/>
            </c:ext>
          </c:extLst>
        </c:ser>
        <c:ser>
          <c:idx val="27"/>
          <c:order val="28"/>
          <c:tx>
            <c:strRef>
              <c:f>List1!$C$30</c:f>
              <c:strCache>
                <c:ptCount val="1"/>
                <c:pt idx="0">
                  <c:v>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  <a:lumOff val="40000"/>
                </a:schemeClr>
              </a:solidFill>
              <a:ln w="9525"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0029304044723789E-2"/>
                  <c:y val="-1.1665931804820694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0</c:f>
              <c:numCache>
                <c:formatCode>0.0%</c:formatCode>
                <c:ptCount val="1"/>
                <c:pt idx="0">
                  <c:v>0.90700000000000003</c:v>
                </c:pt>
              </c:numCache>
            </c:numRef>
          </c:xVal>
          <c:yVal>
            <c:numRef>
              <c:f>List1!$A$30</c:f>
              <c:numCache>
                <c:formatCode>0.0%</c:formatCode>
                <c:ptCount val="1"/>
                <c:pt idx="0">
                  <c:v>0.830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9-9149-402E-9150-02BFAEF7D23C}"/>
            </c:ext>
          </c:extLst>
        </c:ser>
        <c:ser>
          <c:idx val="30"/>
          <c:order val="29"/>
          <c:tx>
            <c:strRef>
              <c:f>List1!$C$31</c:f>
              <c:strCache>
                <c:ptCount val="1"/>
                <c:pt idx="0">
                  <c:v>S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50000"/>
                </a:schemeClr>
              </a:solidFill>
              <a:ln w="9525">
                <a:solidFill>
                  <a:schemeClr val="accent1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1323466480637635E-2"/>
                  <c:y val="-1.6332304526749015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1</c:f>
              <c:numCache>
                <c:formatCode>0.0%</c:formatCode>
                <c:ptCount val="1"/>
                <c:pt idx="0">
                  <c:v>0.85199999999999998</c:v>
                </c:pt>
              </c:numCache>
            </c:numRef>
          </c:xVal>
          <c:yVal>
            <c:numRef>
              <c:f>List1!$A$31</c:f>
              <c:numCache>
                <c:formatCode>0.0%</c:formatCode>
                <c:ptCount val="1"/>
                <c:pt idx="0">
                  <c:v>0.808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8DBA-474B-976E-F746759762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9293520"/>
        <c:axId val="359288424"/>
      </c:scatterChart>
      <c:valAx>
        <c:axId val="359293520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8424"/>
        <c:crosses val="autoZero"/>
        <c:crossBetween val="midCat"/>
      </c:valAx>
      <c:valAx>
        <c:axId val="3592884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5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833828720105065E-2"/>
          <c:y val="0.17197402263374487"/>
          <c:w val="0.87881422312393831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I$2:$I$42</c:f>
              <c:numCache>
                <c:formatCode>General</c:formatCode>
                <c:ptCount val="41"/>
                <c:pt idx="0">
                  <c:v>228.73627460850309</c:v>
                </c:pt>
                <c:pt idx="1">
                  <c:v>252.5767111827009</c:v>
                </c:pt>
                <c:pt idx="2">
                  <c:v>256.95078472962325</c:v>
                </c:pt>
                <c:pt idx="3">
                  <c:v>281.38137408396136</c:v>
                </c:pt>
                <c:pt idx="4">
                  <c:v>280.97347436827613</c:v>
                </c:pt>
                <c:pt idx="5">
                  <c:v>245.68580960282719</c:v>
                </c:pt>
                <c:pt idx="6">
                  <c:v>248.15056533164849</c:v>
                </c:pt>
                <c:pt idx="7">
                  <c:v>283.06504525083233</c:v>
                </c:pt>
                <c:pt idx="8">
                  <c:v>292.09091130003713</c:v>
                </c:pt>
                <c:pt idx="9">
                  <c:v>332.00433241570363</c:v>
                </c:pt>
                <c:pt idx="10">
                  <c:v>444.08128833823395</c:v>
                </c:pt>
                <c:pt idx="11">
                  <c:v>554.60475385421842</c:v>
                </c:pt>
                <c:pt idx="12">
                  <c:v>559.8033055498662</c:v>
                </c:pt>
                <c:pt idx="13">
                  <c:v>474.30926088571522</c:v>
                </c:pt>
                <c:pt idx="14">
                  <c:v>426.0729498265992</c:v>
                </c:pt>
                <c:pt idx="15">
                  <c:v>428.25130788270542</c:v>
                </c:pt>
                <c:pt idx="16">
                  <c:v>396.71284901461843</c:v>
                </c:pt>
                <c:pt idx="17">
                  <c:v>366.71052311836729</c:v>
                </c:pt>
                <c:pt idx="18">
                  <c:v>313.69223879664378</c:v>
                </c:pt>
                <c:pt idx="19">
                  <c:v>279.5501647220554</c:v>
                </c:pt>
                <c:pt idx="20">
                  <c:v>256.2651660585779</c:v>
                </c:pt>
                <c:pt idx="21">
                  <c:v>185.26457937728466</c:v>
                </c:pt>
                <c:pt idx="22">
                  <c:v>124.96485119471224</c:v>
                </c:pt>
                <c:pt idx="23">
                  <c:v>72.111462502733801</c:v>
                </c:pt>
                <c:pt idx="24">
                  <c:v>47.585407257490601</c:v>
                </c:pt>
                <c:pt idx="25">
                  <c:v>56.784847653795552</c:v>
                </c:pt>
                <c:pt idx="26">
                  <c:v>100.64708516598914</c:v>
                </c:pt>
                <c:pt idx="27">
                  <c:v>147.98080962018463</c:v>
                </c:pt>
                <c:pt idx="28">
                  <c:v>172.94080073317804</c:v>
                </c:pt>
                <c:pt idx="29">
                  <c:v>188.01573277882113</c:v>
                </c:pt>
                <c:pt idx="30">
                  <c:v>204.01060886409476</c:v>
                </c:pt>
                <c:pt idx="31">
                  <c:v>221.84537302862938</c:v>
                </c:pt>
                <c:pt idx="32">
                  <c:v>235.61849747102178</c:v>
                </c:pt>
                <c:pt idx="33">
                  <c:v>242.30978855173035</c:v>
                </c:pt>
                <c:pt idx="34">
                  <c:v>241.73699320630004</c:v>
                </c:pt>
                <c:pt idx="35">
                  <c:v>238.52586778494836</c:v>
                </c:pt>
                <c:pt idx="36">
                  <c:v>244.55757634667657</c:v>
                </c:pt>
                <c:pt idx="37">
                  <c:v>243.52480898143102</c:v>
                </c:pt>
                <c:pt idx="38">
                  <c:v>233.46617556698058</c:v>
                </c:pt>
                <c:pt idx="39">
                  <c:v>243.90667254505124</c:v>
                </c:pt>
                <c:pt idx="40">
                  <c:v>325.755655920100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C$2:$C$42</c:f>
              <c:numCache>
                <c:formatCode>General</c:formatCode>
                <c:ptCount val="41"/>
                <c:pt idx="0">
                  <c:v>1509.1258702710011</c:v>
                </c:pt>
                <c:pt idx="1">
                  <c:v>1358.8725351809096</c:v>
                </c:pt>
                <c:pt idx="2">
                  <c:v>978.06804396396876</c:v>
                </c:pt>
                <c:pt idx="3">
                  <c:v>893.53417856600834</c:v>
                </c:pt>
                <c:pt idx="4">
                  <c:v>911.32930531958334</c:v>
                </c:pt>
                <c:pt idx="5">
                  <c:v>968.48317537625746</c:v>
                </c:pt>
                <c:pt idx="6">
                  <c:v>1120.3729514447391</c:v>
                </c:pt>
                <c:pt idx="7">
                  <c:v>1395.9122078403477</c:v>
                </c:pt>
                <c:pt idx="8">
                  <c:v>1573.8728264674037</c:v>
                </c:pt>
                <c:pt idx="9">
                  <c:v>1519.7300078109665</c:v>
                </c:pt>
                <c:pt idx="10">
                  <c:v>1329.2015224698775</c:v>
                </c:pt>
                <c:pt idx="11">
                  <c:v>1069.9425160364203</c:v>
                </c:pt>
                <c:pt idx="12">
                  <c:v>808.60756733323433</c:v>
                </c:pt>
                <c:pt idx="13">
                  <c:v>602.18222677350229</c:v>
                </c:pt>
                <c:pt idx="14">
                  <c:v>457.13744954034246</c:v>
                </c:pt>
                <c:pt idx="15">
                  <c:v>364.59904998522995</c:v>
                </c:pt>
                <c:pt idx="16">
                  <c:v>297.98187552781064</c:v>
                </c:pt>
                <c:pt idx="17">
                  <c:v>235.86257598813683</c:v>
                </c:pt>
                <c:pt idx="18">
                  <c:v>172.63984767446308</c:v>
                </c:pt>
                <c:pt idx="19">
                  <c:v>118.02012336146672</c:v>
                </c:pt>
                <c:pt idx="20">
                  <c:v>76.519980149503382</c:v>
                </c:pt>
                <c:pt idx="21">
                  <c:v>51.767641464945704</c:v>
                </c:pt>
                <c:pt idx="22">
                  <c:v>35.150752215811217</c:v>
                </c:pt>
                <c:pt idx="23">
                  <c:v>21.947011293032435</c:v>
                </c:pt>
                <c:pt idx="24">
                  <c:v>15.17682118815153</c:v>
                </c:pt>
                <c:pt idx="25">
                  <c:v>15.868801944727757</c:v>
                </c:pt>
                <c:pt idx="26">
                  <c:v>22.105979845218865</c:v>
                </c:pt>
                <c:pt idx="27">
                  <c:v>27.679230263049003</c:v>
                </c:pt>
                <c:pt idx="28">
                  <c:v>27.501559528252404</c:v>
                </c:pt>
                <c:pt idx="29">
                  <c:v>23.508643540981485</c:v>
                </c:pt>
                <c:pt idx="30">
                  <c:v>22.162086393049371</c:v>
                </c:pt>
                <c:pt idx="31">
                  <c:v>23.050440067032362</c:v>
                </c:pt>
                <c:pt idx="32">
                  <c:v>24.022953562761113</c:v>
                </c:pt>
                <c:pt idx="33">
                  <c:v>24.378295032354309</c:v>
                </c:pt>
                <c:pt idx="34">
                  <c:v>28.586286119642164</c:v>
                </c:pt>
                <c:pt idx="35">
                  <c:v>40.677247177115937</c:v>
                </c:pt>
                <c:pt idx="36">
                  <c:v>52.786910417199877</c:v>
                </c:pt>
                <c:pt idx="37">
                  <c:v>58.771608852453717</c:v>
                </c:pt>
                <c:pt idx="38">
                  <c:v>72.209127057859604</c:v>
                </c:pt>
                <c:pt idx="39">
                  <c:v>97.569286677247732</c:v>
                </c:pt>
                <c:pt idx="40">
                  <c:v>145.736757989736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D$2:$D$42</c:f>
              <c:numCache>
                <c:formatCode>General</c:formatCode>
                <c:ptCount val="41"/>
                <c:pt idx="0">
                  <c:v>317.12613637484463</c:v>
                </c:pt>
                <c:pt idx="1">
                  <c:v>362.97566246668015</c:v>
                </c:pt>
                <c:pt idx="2">
                  <c:v>376.20942868038333</c:v>
                </c:pt>
                <c:pt idx="3">
                  <c:v>396.43663650752393</c:v>
                </c:pt>
                <c:pt idx="4">
                  <c:v>395.01655787913694</c:v>
                </c:pt>
                <c:pt idx="5">
                  <c:v>365.74154782866412</c:v>
                </c:pt>
                <c:pt idx="6">
                  <c:v>349.0719637619701</c:v>
                </c:pt>
                <c:pt idx="7">
                  <c:v>372.95929056436773</c:v>
                </c:pt>
                <c:pt idx="8">
                  <c:v>384.50559932843947</c:v>
                </c:pt>
                <c:pt idx="9">
                  <c:v>412.03819072713605</c:v>
                </c:pt>
                <c:pt idx="10">
                  <c:v>503.90509739303275</c:v>
                </c:pt>
                <c:pt idx="11">
                  <c:v>624.91629557457156</c:v>
                </c:pt>
                <c:pt idx="12">
                  <c:v>704.59964061909716</c:v>
                </c:pt>
                <c:pt idx="13">
                  <c:v>667.49934373353756</c:v>
                </c:pt>
                <c:pt idx="14">
                  <c:v>604.08599996173518</c:v>
                </c:pt>
                <c:pt idx="15">
                  <c:v>564.3223129290019</c:v>
                </c:pt>
                <c:pt idx="16">
                  <c:v>462.73321523507889</c:v>
                </c:pt>
                <c:pt idx="17">
                  <c:v>359.03033941542907</c:v>
                </c:pt>
                <c:pt idx="18">
                  <c:v>293.06204246284653</c:v>
                </c:pt>
                <c:pt idx="19">
                  <c:v>281.21716068171855</c:v>
                </c:pt>
                <c:pt idx="20">
                  <c:v>242.85275614683113</c:v>
                </c:pt>
                <c:pt idx="21">
                  <c:v>162.04196373939143</c:v>
                </c:pt>
                <c:pt idx="22">
                  <c:v>110.74236600785714</c:v>
                </c:pt>
                <c:pt idx="23">
                  <c:v>66.188141761161319</c:v>
                </c:pt>
                <c:pt idx="24">
                  <c:v>43.606514869173914</c:v>
                </c:pt>
                <c:pt idx="25">
                  <c:v>42.917271685521627</c:v>
                </c:pt>
                <c:pt idx="26">
                  <c:v>63.306392243304749</c:v>
                </c:pt>
                <c:pt idx="27">
                  <c:v>121.10329533107854</c:v>
                </c:pt>
                <c:pt idx="28">
                  <c:v>269.30691963317526</c:v>
                </c:pt>
                <c:pt idx="29">
                  <c:v>414.27228932242286</c:v>
                </c:pt>
                <c:pt idx="30">
                  <c:v>462.29946736950461</c:v>
                </c:pt>
                <c:pt idx="31">
                  <c:v>481.89982040461666</c:v>
                </c:pt>
                <c:pt idx="32">
                  <c:v>467.10040264873777</c:v>
                </c:pt>
                <c:pt idx="33">
                  <c:v>403.22657312923656</c:v>
                </c:pt>
                <c:pt idx="34">
                  <c:v>322.10383876367837</c:v>
                </c:pt>
                <c:pt idx="35">
                  <c:v>241.5069494132342</c:v>
                </c:pt>
                <c:pt idx="36">
                  <c:v>176.59034249087969</c:v>
                </c:pt>
                <c:pt idx="37">
                  <c:v>132.57236132456853</c:v>
                </c:pt>
                <c:pt idx="38">
                  <c:v>106.54451851431968</c:v>
                </c:pt>
                <c:pt idx="39">
                  <c:v>92.38235361574003</c:v>
                </c:pt>
                <c:pt idx="40">
                  <c:v>92.0867514744753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F$2:$F$42</c:f>
              <c:numCache>
                <c:formatCode>General</c:formatCode>
                <c:ptCount val="41"/>
                <c:pt idx="0">
                  <c:v>383.61718943028382</c:v>
                </c:pt>
                <c:pt idx="1">
                  <c:v>378.64749450919135</c:v>
                </c:pt>
                <c:pt idx="2">
                  <c:v>319.11007988264811</c:v>
                </c:pt>
                <c:pt idx="3">
                  <c:v>287.97906584758584</c:v>
                </c:pt>
                <c:pt idx="4">
                  <c:v>284.91073193881414</c:v>
                </c:pt>
                <c:pt idx="5">
                  <c:v>283.10326529747215</c:v>
                </c:pt>
                <c:pt idx="6">
                  <c:v>289.24160980021156</c:v>
                </c:pt>
                <c:pt idx="7">
                  <c:v>341.01429528384671</c:v>
                </c:pt>
                <c:pt idx="8">
                  <c:v>432.98718502797919</c:v>
                </c:pt>
                <c:pt idx="9">
                  <c:v>499.44595614381717</c:v>
                </c:pt>
                <c:pt idx="10">
                  <c:v>517.91129020791709</c:v>
                </c:pt>
                <c:pt idx="11">
                  <c:v>517.9532073378183</c:v>
                </c:pt>
                <c:pt idx="12">
                  <c:v>489.40428850467316</c:v>
                </c:pt>
                <c:pt idx="13">
                  <c:v>398.64364215728489</c:v>
                </c:pt>
                <c:pt idx="14">
                  <c:v>338.46741047104661</c:v>
                </c:pt>
                <c:pt idx="15">
                  <c:v>323.3655069102233</c:v>
                </c:pt>
                <c:pt idx="16">
                  <c:v>292.80121247142591</c:v>
                </c:pt>
                <c:pt idx="17">
                  <c:v>249.04811228049843</c:v>
                </c:pt>
                <c:pt idx="18">
                  <c:v>191.74571902029004</c:v>
                </c:pt>
                <c:pt idx="19">
                  <c:v>135.76623037976518</c:v>
                </c:pt>
                <c:pt idx="20">
                  <c:v>95.371530636526032</c:v>
                </c:pt>
                <c:pt idx="21">
                  <c:v>67.478195715036492</c:v>
                </c:pt>
                <c:pt idx="22">
                  <c:v>48.404224924770489</c:v>
                </c:pt>
                <c:pt idx="23">
                  <c:v>34.452527408437561</c:v>
                </c:pt>
                <c:pt idx="24">
                  <c:v>22.127214532273239</c:v>
                </c:pt>
                <c:pt idx="25">
                  <c:v>17.33860161235414</c:v>
                </c:pt>
                <c:pt idx="26">
                  <c:v>22.14398138423374</c:v>
                </c:pt>
                <c:pt idx="27">
                  <c:v>40.476857317845592</c:v>
                </c:pt>
                <c:pt idx="28">
                  <c:v>77.360578260555812</c:v>
                </c:pt>
                <c:pt idx="29">
                  <c:v>113.83015795984166</c:v>
                </c:pt>
                <c:pt idx="30">
                  <c:v>132.46148385835042</c:v>
                </c:pt>
                <c:pt idx="31">
                  <c:v>143.05645761219102</c:v>
                </c:pt>
                <c:pt idx="32">
                  <c:v>147.87692755083506</c:v>
                </c:pt>
                <c:pt idx="33">
                  <c:v>150.19242980658026</c:v>
                </c:pt>
                <c:pt idx="34">
                  <c:v>145.58154551744249</c:v>
                </c:pt>
                <c:pt idx="35">
                  <c:v>127.70808132754837</c:v>
                </c:pt>
                <c:pt idx="36">
                  <c:v>108.43290831375637</c:v>
                </c:pt>
                <c:pt idx="37">
                  <c:v>90.375008752296722</c:v>
                </c:pt>
                <c:pt idx="38">
                  <c:v>76.998414258208982</c:v>
                </c:pt>
                <c:pt idx="39">
                  <c:v>67.07076121239632</c:v>
                </c:pt>
                <c:pt idx="40">
                  <c:v>60.1343145563370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K$2:$K$42</c:f>
              <c:numCache>
                <c:formatCode>General</c:formatCode>
                <c:ptCount val="41"/>
                <c:pt idx="0">
                  <c:v>276.23653389120415</c:v>
                </c:pt>
                <c:pt idx="1">
                  <c:v>244.14695247241269</c:v>
                </c:pt>
                <c:pt idx="2">
                  <c:v>171.57434250136598</c:v>
                </c:pt>
                <c:pt idx="3">
                  <c:v>163.84622959189628</c:v>
                </c:pt>
                <c:pt idx="4">
                  <c:v>176.43640029209197</c:v>
                </c:pt>
                <c:pt idx="5">
                  <c:v>205.62921885872456</c:v>
                </c:pt>
                <c:pt idx="6">
                  <c:v>286.51338867412807</c:v>
                </c:pt>
                <c:pt idx="7">
                  <c:v>451.66981489173583</c:v>
                </c:pt>
                <c:pt idx="8">
                  <c:v>645.548207763611</c:v>
                </c:pt>
                <c:pt idx="9">
                  <c:v>934.2418455102121</c:v>
                </c:pt>
                <c:pt idx="10">
                  <c:v>1145.6952978066695</c:v>
                </c:pt>
                <c:pt idx="11">
                  <c:v>1196.8646175873835</c:v>
                </c:pt>
                <c:pt idx="12">
                  <c:v>1117.8740913325785</c:v>
                </c:pt>
                <c:pt idx="13">
                  <c:v>861.01413722630969</c:v>
                </c:pt>
                <c:pt idx="14">
                  <c:v>648.29143194869437</c:v>
                </c:pt>
                <c:pt idx="15">
                  <c:v>473.03216143751496</c:v>
                </c:pt>
                <c:pt idx="16">
                  <c:v>316.52508013183035</c:v>
                </c:pt>
                <c:pt idx="17">
                  <c:v>214.25809194837086</c:v>
                </c:pt>
                <c:pt idx="18">
                  <c:v>148.03174688311387</c:v>
                </c:pt>
                <c:pt idx="19">
                  <c:v>101.94967493816999</c:v>
                </c:pt>
                <c:pt idx="20">
                  <c:v>61.057209940379906</c:v>
                </c:pt>
                <c:pt idx="21">
                  <c:v>38.313015390920711</c:v>
                </c:pt>
                <c:pt idx="22">
                  <c:v>25.661429223894796</c:v>
                </c:pt>
                <c:pt idx="23">
                  <c:v>15.77353906422891</c:v>
                </c:pt>
                <c:pt idx="24">
                  <c:v>10.205203404955368</c:v>
                </c:pt>
                <c:pt idx="25">
                  <c:v>6.4690958394501434</c:v>
                </c:pt>
                <c:pt idx="26">
                  <c:v>5.0872478357701283</c:v>
                </c:pt>
                <c:pt idx="27">
                  <c:v>6.1620185052990291</c:v>
                </c:pt>
                <c:pt idx="28">
                  <c:v>7.4005637530418573</c:v>
                </c:pt>
                <c:pt idx="29">
                  <c:v>8.0044825102057153</c:v>
                </c:pt>
                <c:pt idx="30">
                  <c:v>7.6666974426394896</c:v>
                </c:pt>
                <c:pt idx="31">
                  <c:v>8.7824117567218707</c:v>
                </c:pt>
                <c:pt idx="32">
                  <c:v>11.361861363591233</c:v>
                </c:pt>
                <c:pt idx="33">
                  <c:v>17.636474891412337</c:v>
                </c:pt>
                <c:pt idx="34">
                  <c:v>26.275583892197023</c:v>
                </c:pt>
                <c:pt idx="35">
                  <c:v>34.576907825415482</c:v>
                </c:pt>
                <c:pt idx="36">
                  <c:v>46.501744301617094</c:v>
                </c:pt>
                <c:pt idx="37">
                  <c:v>57.894313398623439</c:v>
                </c:pt>
                <c:pt idx="38">
                  <c:v>68.017629514471835</c:v>
                </c:pt>
                <c:pt idx="39">
                  <c:v>83.883291778946088</c:v>
                </c:pt>
                <c:pt idx="40">
                  <c:v>117.846044936059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E$2:$E$42</c:f>
              <c:numCache>
                <c:formatCode>General</c:formatCode>
                <c:ptCount val="41"/>
                <c:pt idx="0">
                  <c:v>323.67517816112746</c:v>
                </c:pt>
                <c:pt idx="1">
                  <c:v>318.81265570307329</c:v>
                </c:pt>
                <c:pt idx="2">
                  <c:v>265.29965817693574</c:v>
                </c:pt>
                <c:pt idx="3">
                  <c:v>218.01030462777348</c:v>
                </c:pt>
                <c:pt idx="4">
                  <c:v>176.60912429253094</c:v>
                </c:pt>
                <c:pt idx="5">
                  <c:v>140.70052619971949</c:v>
                </c:pt>
                <c:pt idx="6">
                  <c:v>123.10574599974261</c:v>
                </c:pt>
                <c:pt idx="7">
                  <c:v>129.9570449527576</c:v>
                </c:pt>
                <c:pt idx="8">
                  <c:v>137.39271233174051</c:v>
                </c:pt>
                <c:pt idx="9">
                  <c:v>154.84681124398438</c:v>
                </c:pt>
                <c:pt idx="10">
                  <c:v>194.8279522560415</c:v>
                </c:pt>
                <c:pt idx="11">
                  <c:v>248.20507811112068</c:v>
                </c:pt>
                <c:pt idx="12">
                  <c:v>272.5345240597527</c:v>
                </c:pt>
                <c:pt idx="13">
                  <c:v>275.63913162322842</c:v>
                </c:pt>
                <c:pt idx="14">
                  <c:v>312.4038414841246</c:v>
                </c:pt>
                <c:pt idx="15">
                  <c:v>346.0663485898823</c:v>
                </c:pt>
                <c:pt idx="16">
                  <c:v>327.39421425478758</c:v>
                </c:pt>
                <c:pt idx="17">
                  <c:v>274.05917254561143</c:v>
                </c:pt>
                <c:pt idx="18">
                  <c:v>207.85239421094818</c:v>
                </c:pt>
                <c:pt idx="19">
                  <c:v>149.56585213523715</c:v>
                </c:pt>
                <c:pt idx="20">
                  <c:v>98.93381499720482</c:v>
                </c:pt>
                <c:pt idx="21">
                  <c:v>59.932633382604251</c:v>
                </c:pt>
                <c:pt idx="22">
                  <c:v>41.35308416849621</c:v>
                </c:pt>
                <c:pt idx="23">
                  <c:v>25.061710087344927</c:v>
                </c:pt>
                <c:pt idx="24">
                  <c:v>13.720633968559849</c:v>
                </c:pt>
                <c:pt idx="25">
                  <c:v>10.577549471687055</c:v>
                </c:pt>
                <c:pt idx="26">
                  <c:v>11.494983852373338</c:v>
                </c:pt>
                <c:pt idx="27">
                  <c:v>16.95750599058799</c:v>
                </c:pt>
                <c:pt idx="28">
                  <c:v>24.489365703063573</c:v>
                </c:pt>
                <c:pt idx="29">
                  <c:v>32.323028861872388</c:v>
                </c:pt>
                <c:pt idx="30">
                  <c:v>42.19596949072568</c:v>
                </c:pt>
                <c:pt idx="31">
                  <c:v>61.358684726632994</c:v>
                </c:pt>
                <c:pt idx="32">
                  <c:v>96.091331542496604</c:v>
                </c:pt>
                <c:pt idx="33">
                  <c:v>137.03439588948035</c:v>
                </c:pt>
                <c:pt idx="34">
                  <c:v>166.56303746339086</c:v>
                </c:pt>
                <c:pt idx="35">
                  <c:v>175.60511681170124</c:v>
                </c:pt>
                <c:pt idx="36">
                  <c:v>162.88007349479048</c:v>
                </c:pt>
                <c:pt idx="37">
                  <c:v>139.77828220235858</c:v>
                </c:pt>
                <c:pt idx="38">
                  <c:v>131.70654301815543</c:v>
                </c:pt>
                <c:pt idx="39">
                  <c:v>137.05483676034754</c:v>
                </c:pt>
                <c:pt idx="40">
                  <c:v>147.2428072813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G$2:$G$42</c:f>
              <c:numCache>
                <c:formatCode>General</c:formatCode>
                <c:ptCount val="41"/>
                <c:pt idx="0">
                  <c:v>618.83943120197318</c:v>
                </c:pt>
                <c:pt idx="1">
                  <c:v>551.44352303895107</c:v>
                </c:pt>
                <c:pt idx="2">
                  <c:v>428.30180062311911</c:v>
                </c:pt>
                <c:pt idx="3">
                  <c:v>369.15517000204221</c:v>
                </c:pt>
                <c:pt idx="4">
                  <c:v>315.61529069081092</c:v>
                </c:pt>
                <c:pt idx="5">
                  <c:v>289.17853912532956</c:v>
                </c:pt>
                <c:pt idx="6">
                  <c:v>302.89095242102798</c:v>
                </c:pt>
                <c:pt idx="7">
                  <c:v>327.67899740256905</c:v>
                </c:pt>
                <c:pt idx="8">
                  <c:v>342.92522483733381</c:v>
                </c:pt>
                <c:pt idx="9">
                  <c:v>392.58748413407142</c:v>
                </c:pt>
                <c:pt idx="10">
                  <c:v>467.79607854851781</c:v>
                </c:pt>
                <c:pt idx="11">
                  <c:v>547.83590026991101</c:v>
                </c:pt>
                <c:pt idx="12">
                  <c:v>578.59260776265057</c:v>
                </c:pt>
                <c:pt idx="13">
                  <c:v>564.357433842776</c:v>
                </c:pt>
                <c:pt idx="14">
                  <c:v>584.01553116069806</c:v>
                </c:pt>
                <c:pt idx="15">
                  <c:v>634.93586272880475</c:v>
                </c:pt>
                <c:pt idx="16">
                  <c:v>596.41242596259042</c:v>
                </c:pt>
                <c:pt idx="17">
                  <c:v>568.34994630214362</c:v>
                </c:pt>
                <c:pt idx="18">
                  <c:v>520.69830479069901</c:v>
                </c:pt>
                <c:pt idx="19">
                  <c:v>380.63292524494352</c:v>
                </c:pt>
                <c:pt idx="20">
                  <c:v>282.70434985668606</c:v>
                </c:pt>
                <c:pt idx="21">
                  <c:v>212.73485092848892</c:v>
                </c:pt>
                <c:pt idx="22">
                  <c:v>148.21125388731406</c:v>
                </c:pt>
                <c:pt idx="23">
                  <c:v>93.022667992142502</c:v>
                </c:pt>
                <c:pt idx="24">
                  <c:v>61.030866717008699</c:v>
                </c:pt>
                <c:pt idx="25">
                  <c:v>58.267703417791729</c:v>
                </c:pt>
                <c:pt idx="26">
                  <c:v>258.06566505348098</c:v>
                </c:pt>
                <c:pt idx="27">
                  <c:v>627.43913070078361</c:v>
                </c:pt>
                <c:pt idx="28">
                  <c:v>661.14282940453836</c:v>
                </c:pt>
                <c:pt idx="29">
                  <c:v>398.52742353405142</c:v>
                </c:pt>
                <c:pt idx="30">
                  <c:v>243.80176802238796</c:v>
                </c:pt>
                <c:pt idx="31">
                  <c:v>196.21906197786771</c:v>
                </c:pt>
                <c:pt idx="32">
                  <c:v>189.76785119819894</c:v>
                </c:pt>
                <c:pt idx="33">
                  <c:v>199.62562296837842</c:v>
                </c:pt>
                <c:pt idx="34">
                  <c:v>203.88238805095594</c:v>
                </c:pt>
                <c:pt idx="35">
                  <c:v>197.48287887148044</c:v>
                </c:pt>
                <c:pt idx="36">
                  <c:v>176.58968777116414</c:v>
                </c:pt>
                <c:pt idx="37">
                  <c:v>147.28062508383559</c:v>
                </c:pt>
                <c:pt idx="38">
                  <c:v>133.05119578620469</c:v>
                </c:pt>
                <c:pt idx="39">
                  <c:v>159.06858992789637</c:v>
                </c:pt>
                <c:pt idx="40">
                  <c:v>228.136183163833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J$2:$J$42</c:f>
              <c:numCache>
                <c:formatCode>General</c:formatCode>
                <c:ptCount val="41"/>
                <c:pt idx="0">
                  <c:v>340.83600201885559</c:v>
                </c:pt>
                <c:pt idx="1">
                  <c:v>305.5128784241208</c:v>
                </c:pt>
                <c:pt idx="2">
                  <c:v>231.13357140964081</c:v>
                </c:pt>
                <c:pt idx="3">
                  <c:v>196.19244758528461</c:v>
                </c:pt>
                <c:pt idx="4">
                  <c:v>196.44535777808701</c:v>
                </c:pt>
                <c:pt idx="5">
                  <c:v>205.7845935435505</c:v>
                </c:pt>
                <c:pt idx="6">
                  <c:v>226.77877402732454</c:v>
                </c:pt>
                <c:pt idx="7">
                  <c:v>316.8622233261284</c:v>
                </c:pt>
                <c:pt idx="8">
                  <c:v>427.61844640535315</c:v>
                </c:pt>
                <c:pt idx="9">
                  <c:v>542.0576741672628</c:v>
                </c:pt>
                <c:pt idx="10">
                  <c:v>716.70006574084323</c:v>
                </c:pt>
                <c:pt idx="11">
                  <c:v>923.21967953222577</c:v>
                </c:pt>
                <c:pt idx="12">
                  <c:v>988.81035734682246</c:v>
                </c:pt>
                <c:pt idx="13">
                  <c:v>839.56436430048279</c:v>
                </c:pt>
                <c:pt idx="14">
                  <c:v>650.35856079136443</c:v>
                </c:pt>
                <c:pt idx="15">
                  <c:v>462.81511490368678</c:v>
                </c:pt>
                <c:pt idx="16">
                  <c:v>290.92312167683252</c:v>
                </c:pt>
                <c:pt idx="17">
                  <c:v>191.6848502948169</c:v>
                </c:pt>
                <c:pt idx="18">
                  <c:v>130.23294240618441</c:v>
                </c:pt>
                <c:pt idx="19">
                  <c:v>81.927095580926547</c:v>
                </c:pt>
                <c:pt idx="20">
                  <c:v>45.031186724701826</c:v>
                </c:pt>
                <c:pt idx="21">
                  <c:v>24.097599307953409</c:v>
                </c:pt>
                <c:pt idx="22">
                  <c:v>14.028612257007969</c:v>
                </c:pt>
                <c:pt idx="23">
                  <c:v>9.2522978866876979</c:v>
                </c:pt>
                <c:pt idx="24">
                  <c:v>5.4823553252269646</c:v>
                </c:pt>
                <c:pt idx="25">
                  <c:v>3.8674183649366571</c:v>
                </c:pt>
                <c:pt idx="26">
                  <c:v>3.0981498618293659</c:v>
                </c:pt>
                <c:pt idx="27">
                  <c:v>3.1165912300545409</c:v>
                </c:pt>
                <c:pt idx="28">
                  <c:v>3.5697219921588355</c:v>
                </c:pt>
                <c:pt idx="29">
                  <c:v>4.2915698341156778</c:v>
                </c:pt>
                <c:pt idx="30">
                  <c:v>5.1161624418984939</c:v>
                </c:pt>
                <c:pt idx="31">
                  <c:v>6.1673204307334561</c:v>
                </c:pt>
                <c:pt idx="32">
                  <c:v>6.9629337455909983</c:v>
                </c:pt>
                <c:pt idx="33">
                  <c:v>7.7032229557730156</c:v>
                </c:pt>
                <c:pt idx="34">
                  <c:v>10.171731816771413</c:v>
                </c:pt>
                <c:pt idx="35">
                  <c:v>14.579218822588187</c:v>
                </c:pt>
                <c:pt idx="36">
                  <c:v>20.108994808965605</c:v>
                </c:pt>
                <c:pt idx="37">
                  <c:v>25.649308720043116</c:v>
                </c:pt>
                <c:pt idx="38">
                  <c:v>34.906875569080867</c:v>
                </c:pt>
                <c:pt idx="39">
                  <c:v>51.764920608065658</c:v>
                </c:pt>
                <c:pt idx="40">
                  <c:v>77.9200497137135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B$2:$B$42</c:f>
              <c:numCache>
                <c:formatCode>General</c:formatCode>
                <c:ptCount val="41"/>
                <c:pt idx="0">
                  <c:v>318.17544509285631</c:v>
                </c:pt>
                <c:pt idx="1">
                  <c:v>298.15536659437566</c:v>
                </c:pt>
                <c:pt idx="2">
                  <c:v>245.21787507650771</c:v>
                </c:pt>
                <c:pt idx="3">
                  <c:v>223.25420871032946</c:v>
                </c:pt>
                <c:pt idx="4">
                  <c:v>223.77100086012192</c:v>
                </c:pt>
                <c:pt idx="5">
                  <c:v>212.43527740054446</c:v>
                </c:pt>
                <c:pt idx="6">
                  <c:v>227.95027650626938</c:v>
                </c:pt>
                <c:pt idx="7">
                  <c:v>294.54905615778068</c:v>
                </c:pt>
                <c:pt idx="8">
                  <c:v>337.91465829253673</c:v>
                </c:pt>
                <c:pt idx="9">
                  <c:v>388.25695444949054</c:v>
                </c:pt>
                <c:pt idx="10">
                  <c:v>447.60940939195586</c:v>
                </c:pt>
                <c:pt idx="11">
                  <c:v>481.29077602407983</c:v>
                </c:pt>
                <c:pt idx="12">
                  <c:v>491.50303828845637</c:v>
                </c:pt>
                <c:pt idx="13">
                  <c:v>454.24906505559335</c:v>
                </c:pt>
                <c:pt idx="14">
                  <c:v>391.51499191557321</c:v>
                </c:pt>
                <c:pt idx="15">
                  <c:v>354.63176087712657</c:v>
                </c:pt>
                <c:pt idx="16">
                  <c:v>315.53531128413414</c:v>
                </c:pt>
                <c:pt idx="17">
                  <c:v>242.28564135703326</c:v>
                </c:pt>
                <c:pt idx="18">
                  <c:v>165.46336482919344</c:v>
                </c:pt>
                <c:pt idx="19">
                  <c:v>115.77267616545616</c:v>
                </c:pt>
                <c:pt idx="20">
                  <c:v>83.742797490277567</c:v>
                </c:pt>
                <c:pt idx="21">
                  <c:v>60.700608376706427</c:v>
                </c:pt>
                <c:pt idx="22">
                  <c:v>45.488943793685785</c:v>
                </c:pt>
                <c:pt idx="23">
                  <c:v>27.27763781947866</c:v>
                </c:pt>
                <c:pt idx="24">
                  <c:v>15.661049061101011</c:v>
                </c:pt>
                <c:pt idx="25">
                  <c:v>15.795864404525123</c:v>
                </c:pt>
                <c:pt idx="26">
                  <c:v>14.840922388604328</c:v>
                </c:pt>
                <c:pt idx="27">
                  <c:v>30.794071360457579</c:v>
                </c:pt>
                <c:pt idx="28">
                  <c:v>51.465757352154746</c:v>
                </c:pt>
                <c:pt idx="29">
                  <c:v>65.003464754326004</c:v>
                </c:pt>
                <c:pt idx="30">
                  <c:v>77.237957170064163</c:v>
                </c:pt>
                <c:pt idx="31">
                  <c:v>102.66188401746128</c:v>
                </c:pt>
                <c:pt idx="32">
                  <c:v>150.43145403740496</c:v>
                </c:pt>
                <c:pt idx="33">
                  <c:v>193.57236393312081</c:v>
                </c:pt>
                <c:pt idx="34">
                  <c:v>229.51188756759868</c:v>
                </c:pt>
                <c:pt idx="35">
                  <c:v>282.38197141375457</c:v>
                </c:pt>
                <c:pt idx="36">
                  <c:v>315.72629968731826</c:v>
                </c:pt>
                <c:pt idx="37">
                  <c:v>287.72964670291105</c:v>
                </c:pt>
                <c:pt idx="38">
                  <c:v>272.01242458204996</c:v>
                </c:pt>
                <c:pt idx="39">
                  <c:v>284.50531307268437</c:v>
                </c:pt>
                <c:pt idx="40">
                  <c:v>308.524913426080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L$2:$L$42</c:f>
              <c:numCache>
                <c:formatCode>General</c:formatCode>
                <c:ptCount val="41"/>
                <c:pt idx="0">
                  <c:v>1664.1647762782316</c:v>
                </c:pt>
                <c:pt idx="1">
                  <c:v>1355.4364493274211</c:v>
                </c:pt>
                <c:pt idx="2">
                  <c:v>1235.0598850504582</c:v>
                </c:pt>
                <c:pt idx="3">
                  <c:v>1285.8305790552472</c:v>
                </c:pt>
                <c:pt idx="4">
                  <c:v>1324.7101938795572</c:v>
                </c:pt>
                <c:pt idx="5">
                  <c:v>1377.8444459957204</c:v>
                </c:pt>
                <c:pt idx="6">
                  <c:v>1381.600487955656</c:v>
                </c:pt>
                <c:pt idx="7">
                  <c:v>1374.1983369711975</c:v>
                </c:pt>
                <c:pt idx="8">
                  <c:v>1294.6435360441697</c:v>
                </c:pt>
                <c:pt idx="9">
                  <c:v>1165.802135740425</c:v>
                </c:pt>
                <c:pt idx="10">
                  <c:v>978.29319223807511</c:v>
                </c:pt>
                <c:pt idx="11">
                  <c:v>802.2539183304558</c:v>
                </c:pt>
                <c:pt idx="12">
                  <c:v>615.29463950516993</c:v>
                </c:pt>
                <c:pt idx="13">
                  <c:v>502.04539387413377</c:v>
                </c:pt>
                <c:pt idx="14">
                  <c:v>431.66999305407074</c:v>
                </c:pt>
                <c:pt idx="15">
                  <c:v>340.88371055904008</c:v>
                </c:pt>
                <c:pt idx="16">
                  <c:v>285.27596739608998</c:v>
                </c:pt>
                <c:pt idx="17">
                  <c:v>223.97003374757892</c:v>
                </c:pt>
                <c:pt idx="18">
                  <c:v>164.8627588073229</c:v>
                </c:pt>
                <c:pt idx="19">
                  <c:v>115.61280374241028</c:v>
                </c:pt>
                <c:pt idx="20">
                  <c:v>83.530708757788986</c:v>
                </c:pt>
                <c:pt idx="21">
                  <c:v>64.530633087285111</c:v>
                </c:pt>
                <c:pt idx="22">
                  <c:v>46.574920303202362</c:v>
                </c:pt>
                <c:pt idx="23">
                  <c:v>29.975047055876896</c:v>
                </c:pt>
                <c:pt idx="24">
                  <c:v>19.183297229525127</c:v>
                </c:pt>
                <c:pt idx="25">
                  <c:v>12.495710325249416</c:v>
                </c:pt>
                <c:pt idx="26">
                  <c:v>9.9122863430497556</c:v>
                </c:pt>
                <c:pt idx="27">
                  <c:v>10.333695928798637</c:v>
                </c:pt>
                <c:pt idx="28">
                  <c:v>11.616246841947403</c:v>
                </c:pt>
                <c:pt idx="29">
                  <c:v>15.592154672708581</c:v>
                </c:pt>
                <c:pt idx="30">
                  <c:v>18.523699617048617</c:v>
                </c:pt>
                <c:pt idx="31">
                  <c:v>21.60182180860566</c:v>
                </c:pt>
                <c:pt idx="32">
                  <c:v>27.922965594838868</c:v>
                </c:pt>
                <c:pt idx="33">
                  <c:v>36.277868686207981</c:v>
                </c:pt>
                <c:pt idx="34">
                  <c:v>63.834391163004348</c:v>
                </c:pt>
                <c:pt idx="35">
                  <c:v>116.98696543506966</c:v>
                </c:pt>
                <c:pt idx="36">
                  <c:v>189.85417945782174</c:v>
                </c:pt>
                <c:pt idx="37">
                  <c:v>266.97213364986692</c:v>
                </c:pt>
                <c:pt idx="38">
                  <c:v>346.3253908619713</c:v>
                </c:pt>
                <c:pt idx="39">
                  <c:v>437.93617037259753</c:v>
                </c:pt>
                <c:pt idx="40">
                  <c:v>484.401157740387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2</c:f>
              <c:numCache>
                <c:formatCode>General</c:formatCode>
                <c:ptCount val="41"/>
                <c:pt idx="0">
                  <c:v>490.92788325614134</c:v>
                </c:pt>
                <c:pt idx="1">
                  <c:v>797.77339151393574</c:v>
                </c:pt>
                <c:pt idx="2">
                  <c:v>1017.4802515660766</c:v>
                </c:pt>
                <c:pt idx="3">
                  <c:v>1027.5240661755972</c:v>
                </c:pt>
                <c:pt idx="4">
                  <c:v>836.00495844155159</c:v>
                </c:pt>
                <c:pt idx="5">
                  <c:v>556.6584596405346</c:v>
                </c:pt>
                <c:pt idx="6">
                  <c:v>348.35599825524105</c:v>
                </c:pt>
                <c:pt idx="7">
                  <c:v>142.9986520499375</c:v>
                </c:pt>
                <c:pt idx="8">
                  <c:v>74.58493629783473</c:v>
                </c:pt>
                <c:pt idx="9">
                  <c:v>146.6113830096094</c:v>
                </c:pt>
                <c:pt idx="10">
                  <c:v>143.311332858143</c:v>
                </c:pt>
                <c:pt idx="11">
                  <c:v>160.06510859510104</c:v>
                </c:pt>
                <c:pt idx="12">
                  <c:v>174.34490307254106</c:v>
                </c:pt>
                <c:pt idx="13">
                  <c:v>210.06868541002194</c:v>
                </c:pt>
                <c:pt idx="14">
                  <c:v>247.24812367218934</c:v>
                </c:pt>
                <c:pt idx="15">
                  <c:v>249.7495701378335</c:v>
                </c:pt>
                <c:pt idx="16">
                  <c:v>236.7838801381221</c:v>
                </c:pt>
                <c:pt idx="17">
                  <c:v>196.31918068163316</c:v>
                </c:pt>
                <c:pt idx="18">
                  <c:v>159.3615767766386</c:v>
                </c:pt>
                <c:pt idx="19">
                  <c:v>139.70916543928885</c:v>
                </c:pt>
                <c:pt idx="20">
                  <c:v>132.10764146683297</c:v>
                </c:pt>
                <c:pt idx="21">
                  <c:v>126.76882793754007</c:v>
                </c:pt>
                <c:pt idx="22">
                  <c:v>133.89710528136055</c:v>
                </c:pt>
                <c:pt idx="23">
                  <c:v>120.69479196733144</c:v>
                </c:pt>
                <c:pt idx="24">
                  <c:v>107.48402782064814</c:v>
                </c:pt>
                <c:pt idx="25">
                  <c:v>215.12439604539904</c:v>
                </c:pt>
                <c:pt idx="26">
                  <c:v>377.08037844687806</c:v>
                </c:pt>
                <c:pt idx="27">
                  <c:v>624.04117380882451</c:v>
                </c:pt>
                <c:pt idx="28">
                  <c:v>783.666839105907</c:v>
                </c:pt>
                <c:pt idx="29">
                  <c:v>720.71447395658311</c:v>
                </c:pt>
                <c:pt idx="30">
                  <c:v>603.63452565708712</c:v>
                </c:pt>
                <c:pt idx="31">
                  <c:v>456.94285973726272</c:v>
                </c:pt>
                <c:pt idx="32">
                  <c:v>351.93915130062328</c:v>
                </c:pt>
                <c:pt idx="33">
                  <c:v>270.494251595739</c:v>
                </c:pt>
                <c:pt idx="34">
                  <c:v>196.57059295309574</c:v>
                </c:pt>
                <c:pt idx="35">
                  <c:v>143.59443575205881</c:v>
                </c:pt>
                <c:pt idx="36">
                  <c:v>101.70577099333664</c:v>
                </c:pt>
                <c:pt idx="37">
                  <c:v>76.849759449161198</c:v>
                </c:pt>
                <c:pt idx="38">
                  <c:v>63.096029304445345</c:v>
                </c:pt>
                <c:pt idx="39">
                  <c:v>54.524772284919649</c:v>
                </c:pt>
                <c:pt idx="40">
                  <c:v>49.604274972009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H$2:$H$42</c:f>
              <c:numCache>
                <c:formatCode>General</c:formatCode>
                <c:ptCount val="41"/>
                <c:pt idx="0">
                  <c:v>1091.1262045884519</c:v>
                </c:pt>
                <c:pt idx="1">
                  <c:v>1089.0118894303387</c:v>
                </c:pt>
                <c:pt idx="2">
                  <c:v>845.01198599239024</c:v>
                </c:pt>
                <c:pt idx="3">
                  <c:v>618.89193047596939</c:v>
                </c:pt>
                <c:pt idx="4">
                  <c:v>458.89160840655819</c:v>
                </c:pt>
                <c:pt idx="5">
                  <c:v>324.57015083912233</c:v>
                </c:pt>
                <c:pt idx="6">
                  <c:v>228.8059263357612</c:v>
                </c:pt>
                <c:pt idx="7">
                  <c:v>203.462061038824</c:v>
                </c:pt>
                <c:pt idx="8">
                  <c:v>151.35352241305569</c:v>
                </c:pt>
                <c:pt idx="9">
                  <c:v>120.31173204095343</c:v>
                </c:pt>
                <c:pt idx="10">
                  <c:v>114.69755676704784</c:v>
                </c:pt>
                <c:pt idx="11">
                  <c:v>109.61526619587818</c:v>
                </c:pt>
                <c:pt idx="12">
                  <c:v>92.279057335158029</c:v>
                </c:pt>
                <c:pt idx="13">
                  <c:v>59.214048079996871</c:v>
                </c:pt>
                <c:pt idx="14">
                  <c:v>41.77498858615099</c:v>
                </c:pt>
                <c:pt idx="15">
                  <c:v>46.34008740217417</c:v>
                </c:pt>
                <c:pt idx="16">
                  <c:v>47.577233589200731</c:v>
                </c:pt>
                <c:pt idx="17">
                  <c:v>44.04651828347054</c:v>
                </c:pt>
                <c:pt idx="18">
                  <c:v>44.925156549316007</c:v>
                </c:pt>
                <c:pt idx="19">
                  <c:v>40.667140337911057</c:v>
                </c:pt>
                <c:pt idx="20">
                  <c:v>48.896660282727872</c:v>
                </c:pt>
                <c:pt idx="21">
                  <c:v>79.862047327365318</c:v>
                </c:pt>
                <c:pt idx="22">
                  <c:v>131.3005875430575</c:v>
                </c:pt>
                <c:pt idx="23">
                  <c:v>166.24776338441939</c:v>
                </c:pt>
                <c:pt idx="24">
                  <c:v>233.63990609267023</c:v>
                </c:pt>
                <c:pt idx="25">
                  <c:v>441.51278999782886</c:v>
                </c:pt>
                <c:pt idx="26">
                  <c:v>571.27796451779511</c:v>
                </c:pt>
                <c:pt idx="27">
                  <c:v>739.65179741839916</c:v>
                </c:pt>
                <c:pt idx="28">
                  <c:v>847.29380075302242</c:v>
                </c:pt>
                <c:pt idx="29">
                  <c:v>656.37510907125989</c:v>
                </c:pt>
                <c:pt idx="30">
                  <c:v>582.32706110501579</c:v>
                </c:pt>
                <c:pt idx="31">
                  <c:v>568.27913391480092</c:v>
                </c:pt>
                <c:pt idx="32">
                  <c:v>585.75345648286134</c:v>
                </c:pt>
                <c:pt idx="33">
                  <c:v>681.73219802102744</c:v>
                </c:pt>
                <c:pt idx="34">
                  <c:v>712.93120293233619</c:v>
                </c:pt>
                <c:pt idx="35">
                  <c:v>727.08491934519463</c:v>
                </c:pt>
                <c:pt idx="36">
                  <c:v>663.56289903198899</c:v>
                </c:pt>
                <c:pt idx="37">
                  <c:v>643.48351685632986</c:v>
                </c:pt>
                <c:pt idx="38">
                  <c:v>691.94085800613493</c:v>
                </c:pt>
                <c:pt idx="39">
                  <c:v>778.04887735374962</c:v>
                </c:pt>
                <c:pt idx="40">
                  <c:v>805.886135856606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46608"/>
        <c:axId val="301529320"/>
      </c:lineChart>
      <c:catAx>
        <c:axId val="1154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1529320"/>
        <c:crosses val="autoZero"/>
        <c:auto val="1"/>
        <c:lblAlgn val="ctr"/>
        <c:lblOffset val="100"/>
        <c:tickLblSkip val="1"/>
        <c:noMultiLvlLbl val="1"/>
      </c:catAx>
      <c:valAx>
        <c:axId val="301529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546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573984053497943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I$2:$I$42</c:f>
              <c:numCache>
                <c:formatCode>General</c:formatCode>
                <c:ptCount val="41"/>
                <c:pt idx="0">
                  <c:v>129.48646293666968</c:v>
                </c:pt>
                <c:pt idx="1">
                  <c:v>123.09024824603122</c:v>
                </c:pt>
                <c:pt idx="2">
                  <c:v>133.86053648359203</c:v>
                </c:pt>
                <c:pt idx="3">
                  <c:v>147.52083760036936</c:v>
                </c:pt>
                <c:pt idx="4">
                  <c:v>133.4526367679068</c:v>
                </c:pt>
                <c:pt idx="5">
                  <c:v>112.23317283492037</c:v>
                </c:pt>
                <c:pt idx="6">
                  <c:v>135.91739249672813</c:v>
                </c:pt>
                <c:pt idx="7">
                  <c:v>147.14765275410417</c:v>
                </c:pt>
                <c:pt idx="8">
                  <c:v>144.94325854593296</c:v>
                </c:pt>
                <c:pt idx="9">
                  <c:v>187.06107386977064</c:v>
                </c:pt>
                <c:pt idx="10">
                  <c:v>257.02021446846328</c:v>
                </c:pt>
                <c:pt idx="11">
                  <c:v>297.58453938575514</c:v>
                </c:pt>
                <c:pt idx="12">
                  <c:v>262.21876616411106</c:v>
                </c:pt>
                <c:pt idx="13">
                  <c:v>212.0904947216041</c:v>
                </c:pt>
                <c:pt idx="14">
                  <c:v>213.98245510499513</c:v>
                </c:pt>
                <c:pt idx="15">
                  <c:v>214.26885277771026</c:v>
                </c:pt>
                <c:pt idx="16">
                  <c:v>182.44399623690816</c:v>
                </c:pt>
                <c:pt idx="17">
                  <c:v>184.26652688145913</c:v>
                </c:pt>
                <c:pt idx="18">
                  <c:v>129.42571191518462</c:v>
                </c:pt>
                <c:pt idx="19">
                  <c:v>150.12445280687075</c:v>
                </c:pt>
                <c:pt idx="20">
                  <c:v>106.1407132517071</c:v>
                </c:pt>
                <c:pt idx="21">
                  <c:v>79.123866125577578</c:v>
                </c:pt>
                <c:pt idx="22">
                  <c:v>45.840985069134661</c:v>
                </c:pt>
                <c:pt idx="23">
                  <c:v>26.270477433599133</c:v>
                </c:pt>
                <c:pt idx="24">
                  <c:v>21.314929823891468</c:v>
                </c:pt>
                <c:pt idx="25">
                  <c:v>35.469917829904084</c:v>
                </c:pt>
                <c:pt idx="26">
                  <c:v>65.177167336085063</c:v>
                </c:pt>
                <c:pt idx="27">
                  <c:v>82.803642284099553</c:v>
                </c:pt>
                <c:pt idx="28">
                  <c:v>90.137158449078498</c:v>
                </c:pt>
                <c:pt idx="29">
                  <c:v>97.878574329742662</c:v>
                </c:pt>
                <c:pt idx="30">
                  <c:v>106.1320345343521</c:v>
                </c:pt>
                <c:pt idx="31">
                  <c:v>115.71333849427727</c:v>
                </c:pt>
                <c:pt idx="32">
                  <c:v>119.90515897674452</c:v>
                </c:pt>
                <c:pt idx="33">
                  <c:v>122.40462957498585</c:v>
                </c:pt>
                <c:pt idx="34">
                  <c:v>119.33236363131419</c:v>
                </c:pt>
                <c:pt idx="35">
                  <c:v>119.19350415363412</c:v>
                </c:pt>
                <c:pt idx="36">
                  <c:v>125.36407219304243</c:v>
                </c:pt>
                <c:pt idx="37">
                  <c:v>118.16073678838858</c:v>
                </c:pt>
                <c:pt idx="38">
                  <c:v>115.30543877859203</c:v>
                </c:pt>
                <c:pt idx="39">
                  <c:v>128.60123376645919</c:v>
                </c:pt>
                <c:pt idx="40">
                  <c:v>197.154422153641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C$2:$C$42</c:f>
              <c:numCache>
                <c:formatCode>General</c:formatCode>
                <c:ptCount val="41"/>
                <c:pt idx="0">
                  <c:v>831.24655938284286</c:v>
                </c:pt>
                <c:pt idx="1">
                  <c:v>527.62597579806652</c:v>
                </c:pt>
                <c:pt idx="2">
                  <c:v>450.44206816590219</c:v>
                </c:pt>
                <c:pt idx="3">
                  <c:v>443.09211040010604</c:v>
                </c:pt>
                <c:pt idx="4">
                  <c:v>468.23719491947725</c:v>
                </c:pt>
                <c:pt idx="5">
                  <c:v>500.24598045678022</c:v>
                </c:pt>
                <c:pt idx="6">
                  <c:v>620.12697098795866</c:v>
                </c:pt>
                <c:pt idx="7">
                  <c:v>775.78523685238906</c:v>
                </c:pt>
                <c:pt idx="8">
                  <c:v>798.08758961501451</c:v>
                </c:pt>
                <c:pt idx="9">
                  <c:v>721.6424181959519</c:v>
                </c:pt>
                <c:pt idx="10">
                  <c:v>607.55910427392564</c:v>
                </c:pt>
                <c:pt idx="11">
                  <c:v>462.38341176249463</c:v>
                </c:pt>
                <c:pt idx="12">
                  <c:v>346.22415557073964</c:v>
                </c:pt>
                <c:pt idx="13">
                  <c:v>255.95807120276262</c:v>
                </c:pt>
                <c:pt idx="14">
                  <c:v>201.17937833757983</c:v>
                </c:pt>
                <c:pt idx="15">
                  <c:v>163.41967164765012</c:v>
                </c:pt>
                <c:pt idx="16">
                  <c:v>134.56220388016052</c:v>
                </c:pt>
                <c:pt idx="17">
                  <c:v>101.30037210797632</c:v>
                </c:pt>
                <c:pt idx="18">
                  <c:v>71.339475566486769</c:v>
                </c:pt>
                <c:pt idx="19">
                  <c:v>46.68064779497994</c:v>
                </c:pt>
                <c:pt idx="20">
                  <c:v>29.839332354523439</c:v>
                </c:pt>
                <c:pt idx="21">
                  <c:v>21.928309110422269</c:v>
                </c:pt>
                <c:pt idx="22">
                  <c:v>13.222443105388951</c:v>
                </c:pt>
                <c:pt idx="23">
                  <c:v>8.7245681876434862</c:v>
                </c:pt>
                <c:pt idx="24">
                  <c:v>6.452253000508045</c:v>
                </c:pt>
                <c:pt idx="25">
                  <c:v>9.416548944219711</c:v>
                </c:pt>
                <c:pt idx="26">
                  <c:v>12.689430900999154</c:v>
                </c:pt>
                <c:pt idx="27">
                  <c:v>14.989799362049848</c:v>
                </c:pt>
                <c:pt idx="28">
                  <c:v>12.511760166202556</c:v>
                </c:pt>
                <c:pt idx="29">
                  <c:v>10.996883374778928</c:v>
                </c:pt>
                <c:pt idx="30">
                  <c:v>11.165203018270443</c:v>
                </c:pt>
                <c:pt idx="31">
                  <c:v>11.885237048761921</c:v>
                </c:pt>
                <c:pt idx="32">
                  <c:v>12.137716513999193</c:v>
                </c:pt>
                <c:pt idx="33">
                  <c:v>12.240578518355116</c:v>
                </c:pt>
                <c:pt idx="34">
                  <c:v>16.345707601287046</c:v>
                </c:pt>
                <c:pt idx="35">
                  <c:v>24.331539575828888</c:v>
                </c:pt>
                <c:pt idx="36">
                  <c:v>28.455370841370986</c:v>
                </c:pt>
                <c:pt idx="37">
                  <c:v>30.316238011082724</c:v>
                </c:pt>
                <c:pt idx="38">
                  <c:v>41.892889046776872</c:v>
                </c:pt>
                <c:pt idx="39">
                  <c:v>55.676397630470866</c:v>
                </c:pt>
                <c:pt idx="40">
                  <c:v>90.060360359265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D$2:$D$42</c:f>
              <c:numCache>
                <c:formatCode>General</c:formatCode>
                <c:ptCount val="41"/>
                <c:pt idx="0">
                  <c:v>183.85561923924902</c:v>
                </c:pt>
                <c:pt idx="1">
                  <c:v>179.12004322743113</c:v>
                </c:pt>
                <c:pt idx="2">
                  <c:v>197.08938545295217</c:v>
                </c:pt>
                <c:pt idx="3">
                  <c:v>199.34725105457179</c:v>
                </c:pt>
                <c:pt idx="4">
                  <c:v>195.66930682456515</c:v>
                </c:pt>
                <c:pt idx="5">
                  <c:v>170.072241004099</c:v>
                </c:pt>
                <c:pt idx="6">
                  <c:v>178.99972275787113</c:v>
                </c:pt>
                <c:pt idx="7">
                  <c:v>193.95956780649664</c:v>
                </c:pt>
                <c:pt idx="8">
                  <c:v>190.54603152194284</c:v>
                </c:pt>
                <c:pt idx="9">
                  <c:v>221.4921592051933</c:v>
                </c:pt>
                <c:pt idx="10">
                  <c:v>282.41293818783942</c:v>
                </c:pt>
                <c:pt idx="11">
                  <c:v>342.50335738673209</c:v>
                </c:pt>
                <c:pt idx="12">
                  <c:v>362.09628323236518</c:v>
                </c:pt>
                <c:pt idx="13">
                  <c:v>305.40306050117249</c:v>
                </c:pt>
                <c:pt idx="14">
                  <c:v>298.68293946056264</c:v>
                </c:pt>
                <c:pt idx="15">
                  <c:v>265.63937346843926</c:v>
                </c:pt>
                <c:pt idx="16">
                  <c:v>197.0938417666396</c:v>
                </c:pt>
                <c:pt idx="17">
                  <c:v>161.93649764878947</c:v>
                </c:pt>
                <c:pt idx="18">
                  <c:v>131.12554481405704</c:v>
                </c:pt>
                <c:pt idx="19">
                  <c:v>150.09161586766149</c:v>
                </c:pt>
                <c:pt idx="20">
                  <c:v>92.761140279169638</c:v>
                </c:pt>
                <c:pt idx="21">
                  <c:v>69.280823460221811</c:v>
                </c:pt>
                <c:pt idx="22">
                  <c:v>41.461542547635325</c:v>
                </c:pt>
                <c:pt idx="23">
                  <c:v>24.726599213525994</c:v>
                </c:pt>
                <c:pt idx="24">
                  <c:v>18.879915655647924</c:v>
                </c:pt>
                <c:pt idx="25">
                  <c:v>24.037356029873703</c:v>
                </c:pt>
                <c:pt idx="26">
                  <c:v>39.269036213431043</c:v>
                </c:pt>
                <c:pt idx="27">
                  <c:v>81.83425911764752</c:v>
                </c:pt>
                <c:pt idx="28">
                  <c:v>187.47266051552776</c:v>
                </c:pt>
                <c:pt idx="29">
                  <c:v>226.7996288068951</c:v>
                </c:pt>
                <c:pt idx="30">
                  <c:v>235.49983856260948</c:v>
                </c:pt>
                <c:pt idx="31">
                  <c:v>246.39998184200715</c:v>
                </c:pt>
                <c:pt idx="32">
                  <c:v>220.70042080673062</c:v>
                </c:pt>
                <c:pt idx="33">
                  <c:v>182.52615232250591</c:v>
                </c:pt>
                <c:pt idx="34">
                  <c:v>139.57768644117243</c:v>
                </c:pt>
                <c:pt idx="35">
                  <c:v>101.92926297206176</c:v>
                </c:pt>
                <c:pt idx="36">
                  <c:v>74.661079518817942</c:v>
                </c:pt>
                <c:pt idx="37">
                  <c:v>57.911281805750598</c:v>
                </c:pt>
                <c:pt idx="38">
                  <c:v>48.633236708569086</c:v>
                </c:pt>
                <c:pt idx="39">
                  <c:v>43.749116907170944</c:v>
                </c:pt>
                <c:pt idx="40">
                  <c:v>48.337634567304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F$2:$F$42</c:f>
              <c:numCache>
                <c:formatCode>General</c:formatCode>
                <c:ptCount val="41"/>
                <c:pt idx="0">
                  <c:v>202.95435955588499</c:v>
                </c:pt>
                <c:pt idx="1">
                  <c:v>175.69313495330633</c:v>
                </c:pt>
                <c:pt idx="2">
                  <c:v>143.41694492934181</c:v>
                </c:pt>
                <c:pt idx="3">
                  <c:v>144.56212091824403</c:v>
                </c:pt>
                <c:pt idx="4">
                  <c:v>140.3486110205701</c:v>
                </c:pt>
                <c:pt idx="5">
                  <c:v>142.75465427690202</c:v>
                </c:pt>
                <c:pt idx="6">
                  <c:v>146.48695552330955</c:v>
                </c:pt>
                <c:pt idx="7">
                  <c:v>194.52733976053716</c:v>
                </c:pt>
                <c:pt idx="8">
                  <c:v>238.45984526744201</c:v>
                </c:pt>
                <c:pt idx="9">
                  <c:v>260.98611087637516</c:v>
                </c:pt>
                <c:pt idx="10">
                  <c:v>256.92517933154181</c:v>
                </c:pt>
                <c:pt idx="11">
                  <c:v>261.02802800627643</c:v>
                </c:pt>
                <c:pt idx="12">
                  <c:v>228.3762604983967</c:v>
                </c:pt>
                <c:pt idx="13">
                  <c:v>170.26738165888818</c:v>
                </c:pt>
                <c:pt idx="14">
                  <c:v>168.20002881215839</c:v>
                </c:pt>
                <c:pt idx="15">
                  <c:v>155.16547809806488</c:v>
                </c:pt>
                <c:pt idx="16">
                  <c:v>137.63573437336103</c:v>
                </c:pt>
                <c:pt idx="17">
                  <c:v>111.41237790713738</c:v>
                </c:pt>
                <c:pt idx="18">
                  <c:v>80.333341113152642</c:v>
                </c:pt>
                <c:pt idx="19">
                  <c:v>55.432889266612527</c:v>
                </c:pt>
                <c:pt idx="20">
                  <c:v>39.938641369913505</c:v>
                </c:pt>
                <c:pt idx="21">
                  <c:v>27.539554345122976</c:v>
                </c:pt>
                <c:pt idx="22">
                  <c:v>20.864670579647509</c:v>
                </c:pt>
                <c:pt idx="23">
                  <c:v>13.587856828790052</c:v>
                </c:pt>
                <c:pt idx="24">
                  <c:v>8.5393577034831871</c:v>
                </c:pt>
                <c:pt idx="25">
                  <c:v>8.7992439088709524</c:v>
                </c:pt>
                <c:pt idx="26">
                  <c:v>13.344737475362786</c:v>
                </c:pt>
                <c:pt idx="27">
                  <c:v>27.132119842482805</c:v>
                </c:pt>
                <c:pt idx="28">
                  <c:v>50.228458418073004</c:v>
                </c:pt>
                <c:pt idx="29">
                  <c:v>63.601699541768639</c:v>
                </c:pt>
                <c:pt idx="30">
                  <c:v>68.859784316581781</c:v>
                </c:pt>
                <c:pt idx="31">
                  <c:v>74.196673295609259</c:v>
                </c:pt>
                <c:pt idx="32">
                  <c:v>73.680254255225833</c:v>
                </c:pt>
                <c:pt idx="33">
                  <c:v>76.51217555135446</c:v>
                </c:pt>
                <c:pt idx="34">
                  <c:v>69.069369966088033</c:v>
                </c:pt>
                <c:pt idx="35">
                  <c:v>58.638711361460338</c:v>
                </c:pt>
                <c:pt idx="36">
                  <c:v>49.794196952296026</c:v>
                </c:pt>
                <c:pt idx="37">
                  <c:v>40.580811800000696</c:v>
                </c:pt>
                <c:pt idx="38">
                  <c:v>36.417602458208286</c:v>
                </c:pt>
                <c:pt idx="39">
                  <c:v>30.653158754188023</c:v>
                </c:pt>
                <c:pt idx="40">
                  <c:v>29.481155802148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K$2:$K$42</c:f>
              <c:numCache>
                <c:formatCode>General</c:formatCode>
                <c:ptCount val="41"/>
                <c:pt idx="0">
                  <c:v>151.54266440357495</c:v>
                </c:pt>
                <c:pt idx="1">
                  <c:v>92.604288068837732</c:v>
                </c:pt>
                <c:pt idx="2">
                  <c:v>78.970054432528244</c:v>
                </c:pt>
                <c:pt idx="3">
                  <c:v>84.876175159368017</c:v>
                </c:pt>
                <c:pt idx="4">
                  <c:v>91.560225132723943</c:v>
                </c:pt>
                <c:pt idx="5">
                  <c:v>114.06899372600063</c:v>
                </c:pt>
                <c:pt idx="6">
                  <c:v>172.4443949481275</c:v>
                </c:pt>
                <c:pt idx="7">
                  <c:v>279.2254199436083</c:v>
                </c:pt>
                <c:pt idx="8">
                  <c:v>366.3227878200027</c:v>
                </c:pt>
                <c:pt idx="9">
                  <c:v>567.91905769020934</c:v>
                </c:pt>
                <c:pt idx="10">
                  <c:v>577.77624011646014</c:v>
                </c:pt>
                <c:pt idx="11">
                  <c:v>619.08837747092332</c:v>
                </c:pt>
                <c:pt idx="12">
                  <c:v>498.78571386165515</c:v>
                </c:pt>
                <c:pt idx="13">
                  <c:v>362.22842336465453</c:v>
                </c:pt>
                <c:pt idx="14">
                  <c:v>286.06300858403978</c:v>
                </c:pt>
                <c:pt idx="15">
                  <c:v>186.96915285347518</c:v>
                </c:pt>
                <c:pt idx="16">
                  <c:v>129.55592727835514</c:v>
                </c:pt>
                <c:pt idx="17">
                  <c:v>84.702164670015719</c:v>
                </c:pt>
                <c:pt idx="18">
                  <c:v>63.329582213098156</c:v>
                </c:pt>
                <c:pt idx="19">
                  <c:v>38.620092725071821</c:v>
                </c:pt>
                <c:pt idx="20">
                  <c:v>22.437117215308092</c:v>
                </c:pt>
                <c:pt idx="21">
                  <c:v>15.875898175612614</c:v>
                </c:pt>
                <c:pt idx="22">
                  <c:v>9.7855310482821789</c:v>
                </c:pt>
                <c:pt idx="23">
                  <c:v>5.9880080159467308</c:v>
                </c:pt>
                <c:pt idx="24">
                  <c:v>4.217195389008638</c:v>
                </c:pt>
                <c:pt idx="25">
                  <c:v>2.2519004504415054</c:v>
                </c:pt>
                <c:pt idx="26">
                  <c:v>2.8353473853286228</c:v>
                </c:pt>
                <c:pt idx="27">
                  <c:v>3.3266711199704058</c:v>
                </c:pt>
                <c:pt idx="28">
                  <c:v>4.0738926330714511</c:v>
                </c:pt>
                <c:pt idx="29">
                  <c:v>3.9305898771342638</c:v>
                </c:pt>
                <c:pt idx="30">
                  <c:v>3.7361075655052254</c:v>
                </c:pt>
                <c:pt idx="31">
                  <c:v>5.0463041912166471</c:v>
                </c:pt>
                <c:pt idx="32">
                  <c:v>6.3155571723745858</c:v>
                </c:pt>
                <c:pt idx="33">
                  <c:v>11.32091771903775</c:v>
                </c:pt>
                <c:pt idx="34">
                  <c:v>14.954666173159271</c:v>
                </c:pt>
                <c:pt idx="35">
                  <c:v>19.622241652256211</c:v>
                </c:pt>
                <c:pt idx="36">
                  <c:v>26.87950264936088</c:v>
                </c:pt>
                <c:pt idx="37">
                  <c:v>31.014810749262555</c:v>
                </c:pt>
                <c:pt idx="38">
                  <c:v>37.002818765209284</c:v>
                </c:pt>
                <c:pt idx="39">
                  <c:v>46.880473013736797</c:v>
                </c:pt>
                <c:pt idx="40">
                  <c:v>70.9655719223225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E$2:$E$42</c:f>
              <c:numCache>
                <c:formatCode>General</c:formatCode>
                <c:ptCount val="41"/>
                <c:pt idx="0">
                  <c:v>174.96303298563774</c:v>
                </c:pt>
                <c:pt idx="1">
                  <c:v>143.84962271743558</c:v>
                </c:pt>
                <c:pt idx="2">
                  <c:v>121.45003545950014</c:v>
                </c:pt>
                <c:pt idx="3">
                  <c:v>96.560269168273351</c:v>
                </c:pt>
                <c:pt idx="4">
                  <c:v>80.048855124257585</c:v>
                </c:pt>
                <c:pt idx="5">
                  <c:v>60.651671075461913</c:v>
                </c:pt>
                <c:pt idx="6">
                  <c:v>62.454074924280704</c:v>
                </c:pt>
                <c:pt idx="7">
                  <c:v>67.502970028476909</c:v>
                </c:pt>
                <c:pt idx="8">
                  <c:v>69.889742303263617</c:v>
                </c:pt>
                <c:pt idx="9">
                  <c:v>84.95706894072076</c:v>
                </c:pt>
                <c:pt idx="10">
                  <c:v>109.87088331532071</c:v>
                </c:pt>
                <c:pt idx="11">
                  <c:v>138.33419479579996</c:v>
                </c:pt>
                <c:pt idx="12">
                  <c:v>134.20032926395274</c:v>
                </c:pt>
                <c:pt idx="13">
                  <c:v>141.43880235927571</c:v>
                </c:pt>
                <c:pt idx="14">
                  <c:v>170.96503912484889</c:v>
                </c:pt>
                <c:pt idx="15">
                  <c:v>175.10130946503344</c:v>
                </c:pt>
                <c:pt idx="16">
                  <c:v>152.29290478975415</c:v>
                </c:pt>
                <c:pt idx="17">
                  <c:v>121.76626775585726</c:v>
                </c:pt>
                <c:pt idx="18">
                  <c:v>86.086126455090906</c:v>
                </c:pt>
                <c:pt idx="19">
                  <c:v>63.479725680146238</c:v>
                </c:pt>
                <c:pt idx="20">
                  <c:v>35.454089317058603</c:v>
                </c:pt>
                <c:pt idx="21">
                  <c:v>24.478544065545648</c:v>
                </c:pt>
                <c:pt idx="22">
                  <c:v>16.874540102950569</c:v>
                </c:pt>
                <c:pt idx="23">
                  <c:v>8.1871699843943571</c:v>
                </c:pt>
                <c:pt idx="24">
                  <c:v>5.5334639841654916</c:v>
                </c:pt>
                <c:pt idx="25">
                  <c:v>5.0440854875215635</c:v>
                </c:pt>
                <c:pt idx="26">
                  <c:v>6.4508983648517741</c:v>
                </c:pt>
                <c:pt idx="27">
                  <c:v>10.506607625736216</c:v>
                </c:pt>
                <c:pt idx="28">
                  <c:v>13.982758077327357</c:v>
                </c:pt>
                <c:pt idx="29">
                  <c:v>18.340270784545034</c:v>
                </c:pt>
                <c:pt idx="30">
                  <c:v>23.85569870618065</c:v>
                </c:pt>
                <c:pt idx="31">
                  <c:v>37.50298602045234</c:v>
                </c:pt>
                <c:pt idx="32">
                  <c:v>58.588345522044264</c:v>
                </c:pt>
                <c:pt idx="33">
                  <c:v>78.446050367436072</c:v>
                </c:pt>
                <c:pt idx="34">
                  <c:v>88.116987095954769</c:v>
                </c:pt>
                <c:pt idx="35">
                  <c:v>87.488129715746481</c:v>
                </c:pt>
                <c:pt idx="36">
                  <c:v>75.391943779043999</c:v>
                </c:pt>
                <c:pt idx="37">
                  <c:v>64.386338423314584</c:v>
                </c:pt>
                <c:pt idx="38">
                  <c:v>67.320204594840845</c:v>
                </c:pt>
                <c:pt idx="39">
                  <c:v>69.734632165506696</c:v>
                </c:pt>
                <c:pt idx="40">
                  <c:v>77.5081751158826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G$2:$G$42</c:f>
              <c:numCache>
                <c:formatCode>General</c:formatCode>
                <c:ptCount val="41"/>
                <c:pt idx="0">
                  <c:v>327.59282806891366</c:v>
                </c:pt>
                <c:pt idx="1">
                  <c:v>223.85069497003747</c:v>
                </c:pt>
                <c:pt idx="2">
                  <c:v>204.4511056530817</c:v>
                </c:pt>
                <c:pt idx="3">
                  <c:v>164.70406434896054</c:v>
                </c:pt>
                <c:pt idx="4">
                  <c:v>150.91122634185041</c:v>
                </c:pt>
                <c:pt idx="5">
                  <c:v>138.26731278347916</c:v>
                </c:pt>
                <c:pt idx="6">
                  <c:v>164.62363963754882</c:v>
                </c:pt>
                <c:pt idx="7">
                  <c:v>163.05535776502026</c:v>
                </c:pt>
                <c:pt idx="8">
                  <c:v>179.86986707231358</c:v>
                </c:pt>
                <c:pt idx="9">
                  <c:v>212.71761706175784</c:v>
                </c:pt>
                <c:pt idx="10">
                  <c:v>255.07846148675995</c:v>
                </c:pt>
                <c:pt idx="11">
                  <c:v>292.75743878315114</c:v>
                </c:pt>
                <c:pt idx="12">
                  <c:v>285.83516897949943</c:v>
                </c:pt>
                <c:pt idx="13">
                  <c:v>278.52226486327658</c:v>
                </c:pt>
                <c:pt idx="14">
                  <c:v>305.49326629742148</c:v>
                </c:pt>
                <c:pt idx="15">
                  <c:v>329.44259643138321</c:v>
                </c:pt>
                <c:pt idx="16">
                  <c:v>266.96982953120727</c:v>
                </c:pt>
                <c:pt idx="17">
                  <c:v>301.38011677093635</c:v>
                </c:pt>
                <c:pt idx="18">
                  <c:v>219.31818801976263</c:v>
                </c:pt>
                <c:pt idx="19">
                  <c:v>161.31473722518086</c:v>
                </c:pt>
                <c:pt idx="20">
                  <c:v>121.38961263150519</c:v>
                </c:pt>
                <c:pt idx="21">
                  <c:v>91.345238296983766</c:v>
                </c:pt>
                <c:pt idx="22">
                  <c:v>56.866015590330306</c:v>
                </c:pt>
                <c:pt idx="23">
                  <c:v>36.156652401812195</c:v>
                </c:pt>
                <c:pt idx="24">
                  <c:v>24.874214315196511</c:v>
                </c:pt>
                <c:pt idx="25">
                  <c:v>33.393489102595218</c:v>
                </c:pt>
                <c:pt idx="26">
                  <c:v>224.67217595088579</c:v>
                </c:pt>
                <c:pt idx="27">
                  <c:v>402.76695474989776</c:v>
                </c:pt>
                <c:pt idx="28">
                  <c:v>258.37587465464048</c:v>
                </c:pt>
                <c:pt idx="29">
                  <c:v>140.15154887941091</c:v>
                </c:pt>
                <c:pt idx="30">
                  <c:v>103.65021914297704</c:v>
                </c:pt>
                <c:pt idx="31">
                  <c:v>92.568842834890646</c:v>
                </c:pt>
                <c:pt idx="32">
                  <c:v>97.199008363308295</c:v>
                </c:pt>
                <c:pt idx="33">
                  <c:v>102.42661460507016</c:v>
                </c:pt>
                <c:pt idx="34">
                  <c:v>101.4557734458858</c:v>
                </c:pt>
                <c:pt idx="35">
                  <c:v>96.027105425594641</c:v>
                </c:pt>
                <c:pt idx="36">
                  <c:v>80.562582345569467</c:v>
                </c:pt>
                <c:pt idx="37">
                  <c:v>66.718042738266107</c:v>
                </c:pt>
                <c:pt idx="38">
                  <c:v>66.33315304793858</c:v>
                </c:pt>
                <c:pt idx="39">
                  <c:v>92.735436879957788</c:v>
                </c:pt>
                <c:pt idx="40">
                  <c:v>135.400746283875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J$2:$J$42</c:f>
              <c:numCache>
                <c:formatCode>General</c:formatCode>
                <c:ptCount val="41"/>
                <c:pt idx="0">
                  <c:v>177.66414148133398</c:v>
                </c:pt>
                <c:pt idx="1">
                  <c:v>127.84873694278681</c:v>
                </c:pt>
                <c:pt idx="2">
                  <c:v>103.28483446685398</c:v>
                </c:pt>
                <c:pt idx="3">
                  <c:v>92.907613118430632</c:v>
                </c:pt>
                <c:pt idx="4">
                  <c:v>103.53774465965638</c:v>
                </c:pt>
                <c:pt idx="5">
                  <c:v>102.24684888389415</c:v>
                </c:pt>
                <c:pt idx="6">
                  <c:v>124.53192514343037</c:v>
                </c:pt>
                <c:pt idx="7">
                  <c:v>192.33029818269799</c:v>
                </c:pt>
                <c:pt idx="8">
                  <c:v>235.2881482226552</c:v>
                </c:pt>
                <c:pt idx="9">
                  <c:v>306.76952594460772</c:v>
                </c:pt>
                <c:pt idx="10">
                  <c:v>409.93053979623551</c:v>
                </c:pt>
                <c:pt idx="11">
                  <c:v>513.28913973599026</c:v>
                </c:pt>
                <c:pt idx="12">
                  <c:v>475.52121761083225</c:v>
                </c:pt>
                <c:pt idx="13">
                  <c:v>364.0431466896506</c:v>
                </c:pt>
                <c:pt idx="14">
                  <c:v>286.31541410171383</c:v>
                </c:pt>
                <c:pt idx="15">
                  <c:v>176.49970080197295</c:v>
                </c:pt>
                <c:pt idx="16">
                  <c:v>114.42342087485957</c:v>
                </c:pt>
                <c:pt idx="17">
                  <c:v>77.261429419957324</c:v>
                </c:pt>
                <c:pt idx="18">
                  <c:v>52.971512986227097</c:v>
                </c:pt>
                <c:pt idx="19">
                  <c:v>28.955582594699454</c:v>
                </c:pt>
                <c:pt idx="20">
                  <c:v>16.075604130002372</c:v>
                </c:pt>
                <c:pt idx="21">
                  <c:v>8.0219951779510357</c:v>
                </c:pt>
                <c:pt idx="22">
                  <c:v>6.0066170790569338</c:v>
                </c:pt>
                <c:pt idx="23">
                  <c:v>3.2456808076307637</c:v>
                </c:pt>
                <c:pt idx="24">
                  <c:v>2.2366745175962004</c:v>
                </c:pt>
                <c:pt idx="25">
                  <c:v>1.630743847340457</c:v>
                </c:pt>
                <c:pt idx="26">
                  <c:v>1.4674060144889087</c:v>
                </c:pt>
                <c:pt idx="27">
                  <c:v>1.6491852155656317</c:v>
                </c:pt>
                <c:pt idx="28">
                  <c:v>1.9205367765932038</c:v>
                </c:pt>
                <c:pt idx="29">
                  <c:v>2.3710330575224736</c:v>
                </c:pt>
                <c:pt idx="30">
                  <c:v>2.7451293843760198</c:v>
                </c:pt>
                <c:pt idx="31">
                  <c:v>3.4221910463574376</c:v>
                </c:pt>
                <c:pt idx="32">
                  <c:v>3.5407426992335607</c:v>
                </c:pt>
                <c:pt idx="33">
                  <c:v>4.1624802565394541</c:v>
                </c:pt>
                <c:pt idx="34">
                  <c:v>6.0092515602319585</c:v>
                </c:pt>
                <c:pt idx="35">
                  <c:v>8.5699672623562311</c:v>
                </c:pt>
                <c:pt idx="36">
                  <c:v>11.539027546609372</c:v>
                </c:pt>
                <c:pt idx="37">
                  <c:v>14.110281173433746</c:v>
                </c:pt>
                <c:pt idx="38">
                  <c:v>20.796594395647119</c:v>
                </c:pt>
                <c:pt idx="39">
                  <c:v>30.968326212418532</c:v>
                </c:pt>
                <c:pt idx="40">
                  <c:v>46.9517235012950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B$2:$B$42</c:f>
              <c:numCache>
                <c:formatCode>General</c:formatCode>
                <c:ptCount val="41"/>
                <c:pt idx="0">
                  <c:v>170.01338266975722</c:v>
                </c:pt>
                <c:pt idx="1">
                  <c:v>128.14198392461844</c:v>
                </c:pt>
                <c:pt idx="2">
                  <c:v>117.07589115188925</c:v>
                </c:pt>
                <c:pt idx="3">
                  <c:v>106.1783175584402</c:v>
                </c:pt>
                <c:pt idx="4">
                  <c:v>117.59268330168169</c:v>
                </c:pt>
                <c:pt idx="5">
                  <c:v>94.84259409886279</c:v>
                </c:pt>
                <c:pt idx="6">
                  <c:v>133.10768240740657</c:v>
                </c:pt>
                <c:pt idx="7">
                  <c:v>161.44137375037411</c:v>
                </c:pt>
                <c:pt idx="8">
                  <c:v>176.47328454216259</c:v>
                </c:pt>
                <c:pt idx="9">
                  <c:v>211.78366990732795</c:v>
                </c:pt>
                <c:pt idx="10">
                  <c:v>235.82573948462792</c:v>
                </c:pt>
                <c:pt idx="11">
                  <c:v>245.46503653945189</c:v>
                </c:pt>
                <c:pt idx="12">
                  <c:v>246.03800174900439</c:v>
                </c:pt>
                <c:pt idx="13">
                  <c:v>208.21106330658895</c:v>
                </c:pt>
                <c:pt idx="14">
                  <c:v>183.30392860898425</c:v>
                </c:pt>
                <c:pt idx="15">
                  <c:v>171.32783226814232</c:v>
                </c:pt>
                <c:pt idx="16">
                  <c:v>144.20747901599179</c:v>
                </c:pt>
                <c:pt idx="17">
                  <c:v>98.078162341041462</c:v>
                </c:pt>
                <c:pt idx="18">
                  <c:v>67.385202488151975</c:v>
                </c:pt>
                <c:pt idx="19">
                  <c:v>48.387473677304193</c:v>
                </c:pt>
                <c:pt idx="20">
                  <c:v>35.355323812973367</c:v>
                </c:pt>
                <c:pt idx="21">
                  <c:v>25.345284563733056</c:v>
                </c:pt>
                <c:pt idx="22">
                  <c:v>20.143659229952732</c:v>
                </c:pt>
                <c:pt idx="23">
                  <c:v>7.1339785895259258</c:v>
                </c:pt>
                <c:pt idx="24">
                  <c:v>8.5270704715750831</c:v>
                </c:pt>
                <c:pt idx="25">
                  <c:v>7.2687939329500386</c:v>
                </c:pt>
                <c:pt idx="26">
                  <c:v>7.5721284556542905</c:v>
                </c:pt>
                <c:pt idx="27">
                  <c:v>23.221942904803292</c:v>
                </c:pt>
                <c:pt idx="28">
                  <c:v>28.243814447351461</c:v>
                </c:pt>
                <c:pt idx="29">
                  <c:v>36.759650306974535</c:v>
                </c:pt>
                <c:pt idx="30">
                  <c:v>40.478306863089621</c:v>
                </c:pt>
                <c:pt idx="31">
                  <c:v>62.183577154371655</c:v>
                </c:pt>
                <c:pt idx="32">
                  <c:v>88.247876883033314</c:v>
                </c:pt>
                <c:pt idx="33">
                  <c:v>105.3244870500875</c:v>
                </c:pt>
                <c:pt idx="34">
                  <c:v>124.18740051751116</c:v>
                </c:pt>
                <c:pt idx="35">
                  <c:v>158.19457089624342</c:v>
                </c:pt>
                <c:pt idx="36">
                  <c:v>157.53172879107487</c:v>
                </c:pt>
                <c:pt idx="37">
                  <c:v>130.19791791183616</c:v>
                </c:pt>
                <c:pt idx="38">
                  <c:v>141.81450667021383</c:v>
                </c:pt>
                <c:pt idx="39">
                  <c:v>142.69080640247054</c:v>
                </c:pt>
                <c:pt idx="40">
                  <c:v>165.834107023609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L$2:$L$42</c:f>
              <c:numCache>
                <c:formatCode>General</c:formatCode>
                <c:ptCount val="41"/>
                <c:pt idx="0">
                  <c:v>785.80062233034732</c:v>
                </c:pt>
                <c:pt idx="1">
                  <c:v>569.63582699707376</c:v>
                </c:pt>
                <c:pt idx="2">
                  <c:v>665.42405805338456</c:v>
                </c:pt>
                <c:pt idx="3">
                  <c:v>620.40652100186287</c:v>
                </c:pt>
                <c:pt idx="4">
                  <c:v>704.30367287769434</c:v>
                </c:pt>
                <c:pt idx="5">
                  <c:v>673.54077311802598</c:v>
                </c:pt>
                <c:pt idx="6">
                  <c:v>708.05971483763005</c:v>
                </c:pt>
                <c:pt idx="7">
                  <c:v>666.13862213356742</c:v>
                </c:pt>
                <c:pt idx="8">
                  <c:v>628.50491391060223</c:v>
                </c:pt>
                <c:pt idx="9">
                  <c:v>537.29722182982266</c:v>
                </c:pt>
                <c:pt idx="10">
                  <c:v>440.99597040825245</c:v>
                </c:pt>
                <c:pt idx="11">
                  <c:v>361.25794792220341</c:v>
                </c:pt>
                <c:pt idx="12">
                  <c:v>254.03669158296648</c:v>
                </c:pt>
                <c:pt idx="13">
                  <c:v>248.00870229116728</c:v>
                </c:pt>
                <c:pt idx="14">
                  <c:v>183.66129076290343</c:v>
                </c:pt>
                <c:pt idx="15">
                  <c:v>157.22241979613671</c:v>
                </c:pt>
                <c:pt idx="16">
                  <c:v>128.0535475999533</c:v>
                </c:pt>
                <c:pt idx="17">
                  <c:v>95.916486147625648</c:v>
                </c:pt>
                <c:pt idx="18">
                  <c:v>68.946272659697286</c:v>
                </c:pt>
                <c:pt idx="19">
                  <c:v>46.666531082712993</c:v>
                </c:pt>
                <c:pt idx="20">
                  <c:v>36.864177675075986</c:v>
                </c:pt>
                <c:pt idx="21">
                  <c:v>27.666455412209114</c:v>
                </c:pt>
                <c:pt idx="22">
                  <c:v>18.908464890993251</c:v>
                </c:pt>
                <c:pt idx="23">
                  <c:v>11.066582164883647</c:v>
                </c:pt>
                <c:pt idx="24">
                  <c:v>8.1167150646414825</c:v>
                </c:pt>
                <c:pt idx="25">
                  <c:v>4.3789952606079332</c:v>
                </c:pt>
                <c:pt idx="26">
                  <c:v>5.5332910824418233</c:v>
                </c:pt>
                <c:pt idx="27">
                  <c:v>4.8004048463568134</c:v>
                </c:pt>
                <c:pt idx="28">
                  <c:v>6.8158419955905902</c:v>
                </c:pt>
                <c:pt idx="29">
                  <c:v>8.7763126771179909</c:v>
                </c:pt>
                <c:pt idx="30">
                  <c:v>9.7473869399306281</c:v>
                </c:pt>
                <c:pt idx="31">
                  <c:v>11.854434868675032</c:v>
                </c:pt>
                <c:pt idx="32">
                  <c:v>16.068530726163836</c:v>
                </c:pt>
                <c:pt idx="33">
                  <c:v>20.209337960044142</c:v>
                </c:pt>
                <c:pt idx="34">
                  <c:v>43.625053202960203</c:v>
                </c:pt>
                <c:pt idx="35">
                  <c:v>73.361912232109475</c:v>
                </c:pt>
                <c:pt idx="36">
                  <c:v>116.49226722571228</c:v>
                </c:pt>
                <c:pt idx="37">
                  <c:v>150.47986642415461</c:v>
                </c:pt>
                <c:pt idx="38">
                  <c:v>195.84552443781669</c:v>
                </c:pt>
                <c:pt idx="39">
                  <c:v>242.09064593478081</c:v>
                </c:pt>
                <c:pt idx="40">
                  <c:v>242.310511805606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2</c:f>
              <c:numCache>
                <c:formatCode>General</c:formatCode>
                <c:ptCount val="41"/>
                <c:pt idx="0">
                  <c:v>323.11336111713587</c:v>
                </c:pt>
                <c:pt idx="1">
                  <c:v>474.66003039679993</c:v>
                </c:pt>
                <c:pt idx="2">
                  <c:v>542.82022116927669</c:v>
                </c:pt>
                <c:pt idx="3">
                  <c:v>484.70384500632059</c:v>
                </c:pt>
                <c:pt idx="4">
                  <c:v>351.30111343523095</c:v>
                </c:pt>
                <c:pt idx="5">
                  <c:v>205.3573462053036</c:v>
                </c:pt>
                <c:pt idx="6">
                  <c:v>142.9986520499375</c:v>
                </c:pt>
                <c:pt idx="7">
                  <c:v>106.81852474912965</c:v>
                </c:pt>
                <c:pt idx="8">
                  <c:v>74.58493629783473</c:v>
                </c:pt>
                <c:pt idx="9">
                  <c:v>72.026446711774682</c:v>
                </c:pt>
                <c:pt idx="10">
                  <c:v>71.284886146368336</c:v>
                </c:pt>
                <c:pt idx="11">
                  <c:v>88.780222448732715</c:v>
                </c:pt>
                <c:pt idx="12">
                  <c:v>85.564680623808357</c:v>
                </c:pt>
                <c:pt idx="13">
                  <c:v>124.50400478621359</c:v>
                </c:pt>
                <c:pt idx="14">
                  <c:v>122.74411888597574</c:v>
                </c:pt>
                <c:pt idx="15">
                  <c:v>127.00545125185775</c:v>
                </c:pt>
                <c:pt idx="16">
                  <c:v>109.77842888626435</c:v>
                </c:pt>
                <c:pt idx="17">
                  <c:v>86.540751795368834</c:v>
                </c:pt>
                <c:pt idx="18">
                  <c:v>72.82082498126978</c:v>
                </c:pt>
                <c:pt idx="19">
                  <c:v>66.888340458019073</c:v>
                </c:pt>
                <c:pt idx="20">
                  <c:v>65.219301008813929</c:v>
                </c:pt>
                <c:pt idx="21">
                  <c:v>61.549526928726138</c:v>
                </c:pt>
                <c:pt idx="22">
                  <c:v>72.3475783526344</c:v>
                </c:pt>
                <c:pt idx="23">
                  <c:v>48.347213614697047</c:v>
                </c:pt>
                <c:pt idx="24">
                  <c:v>59.136814205951104</c:v>
                </c:pt>
                <c:pt idx="25">
                  <c:v>155.98758183944796</c:v>
                </c:pt>
                <c:pt idx="26">
                  <c:v>221.09279660743013</c:v>
                </c:pt>
                <c:pt idx="27">
                  <c:v>402.94837720139435</c:v>
                </c:pt>
                <c:pt idx="28">
                  <c:v>380.71846190451259</c:v>
                </c:pt>
                <c:pt idx="29">
                  <c:v>339.99601205207051</c:v>
                </c:pt>
                <c:pt idx="30">
                  <c:v>263.63851360501661</c:v>
                </c:pt>
                <c:pt idx="31">
                  <c:v>193.30434613224617</c:v>
                </c:pt>
                <c:pt idx="32">
                  <c:v>158.63480516837714</c:v>
                </c:pt>
                <c:pt idx="33">
                  <c:v>111.8594464273619</c:v>
                </c:pt>
                <c:pt idx="34">
                  <c:v>84.711146525733824</c:v>
                </c:pt>
                <c:pt idx="35">
                  <c:v>58.883289226325005</c:v>
                </c:pt>
                <c:pt idx="36">
                  <c:v>42.822481767011638</c:v>
                </c:pt>
                <c:pt idx="37">
                  <c:v>34.027277682149567</c:v>
                </c:pt>
                <c:pt idx="38">
                  <c:v>29.068751622295782</c:v>
                </c:pt>
                <c:pt idx="39">
                  <c:v>25.456020662623871</c:v>
                </c:pt>
                <c:pt idx="40">
                  <c:v>24.1482543093859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H$2:$H$42</c:f>
              <c:numCache>
                <c:formatCode>General</c:formatCode>
                <c:ptCount val="41"/>
                <c:pt idx="0">
                  <c:v>613.53341249011919</c:v>
                </c:pt>
                <c:pt idx="1">
                  <c:v>475.47847694021954</c:v>
                </c:pt>
                <c:pt idx="2">
                  <c:v>369.53350905217076</c:v>
                </c:pt>
                <c:pt idx="3">
                  <c:v>249.35842142379863</c:v>
                </c:pt>
                <c:pt idx="4">
                  <c:v>209.53318698275956</c:v>
                </c:pt>
                <c:pt idx="5">
                  <c:v>115.03696385636273</c:v>
                </c:pt>
                <c:pt idx="6">
                  <c:v>113.76896247939847</c:v>
                </c:pt>
                <c:pt idx="7">
                  <c:v>89.69309855942555</c:v>
                </c:pt>
                <c:pt idx="8">
                  <c:v>61.660423853630149</c:v>
                </c:pt>
                <c:pt idx="9">
                  <c:v>58.651308187323266</c:v>
                </c:pt>
                <c:pt idx="10">
                  <c:v>56.04624857972459</c:v>
                </c:pt>
                <c:pt idx="11">
                  <c:v>53.569017616153587</c:v>
                </c:pt>
                <c:pt idx="12">
                  <c:v>38.710039719004428</c:v>
                </c:pt>
                <c:pt idx="13">
                  <c:v>20.50400836099244</c:v>
                </c:pt>
                <c:pt idx="14">
                  <c:v>21.270980225158549</c:v>
                </c:pt>
                <c:pt idx="15">
                  <c:v>25.069107177015621</c:v>
                </c:pt>
                <c:pt idx="16">
                  <c:v>22.50812641218511</c:v>
                </c:pt>
                <c:pt idx="17">
                  <c:v>21.53839187128543</c:v>
                </c:pt>
                <c:pt idx="18">
                  <c:v>23.386764678030573</c:v>
                </c:pt>
                <c:pt idx="19">
                  <c:v>17.28037565988048</c:v>
                </c:pt>
                <c:pt idx="20">
                  <c:v>31.616284622847388</c:v>
                </c:pt>
                <c:pt idx="21">
                  <c:v>48.245762704517936</c:v>
                </c:pt>
                <c:pt idx="22">
                  <c:v>83.05482483853956</c:v>
                </c:pt>
                <c:pt idx="23">
                  <c:v>83.192938545879827</c:v>
                </c:pt>
                <c:pt idx="24">
                  <c:v>150.44696754679038</c:v>
                </c:pt>
                <c:pt idx="25">
                  <c:v>291.0658224510384</c:v>
                </c:pt>
                <c:pt idx="26">
                  <c:v>280.21214206675677</c:v>
                </c:pt>
                <c:pt idx="27">
                  <c:v>459.43965535164244</c:v>
                </c:pt>
                <c:pt idx="28">
                  <c:v>387.85414540137998</c:v>
                </c:pt>
                <c:pt idx="29">
                  <c:v>268.52096366987985</c:v>
                </c:pt>
                <c:pt idx="30">
                  <c:v>313.80609743513588</c:v>
                </c:pt>
                <c:pt idx="31">
                  <c:v>254.47303647966498</c:v>
                </c:pt>
                <c:pt idx="32">
                  <c:v>331.2804200031963</c:v>
                </c:pt>
                <c:pt idx="33">
                  <c:v>350.45177801783115</c:v>
                </c:pt>
                <c:pt idx="34">
                  <c:v>362.47942491450505</c:v>
                </c:pt>
                <c:pt idx="35">
                  <c:v>364.60549443068965</c:v>
                </c:pt>
                <c:pt idx="36">
                  <c:v>298.95740460129929</c:v>
                </c:pt>
                <c:pt idx="37">
                  <c:v>344.52611225503057</c:v>
                </c:pt>
                <c:pt idx="38">
                  <c:v>347.41474575110442</c:v>
                </c:pt>
                <c:pt idx="39">
                  <c:v>430.63413160264514</c:v>
                </c:pt>
                <c:pt idx="40">
                  <c:v>375.252004253960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4363240"/>
        <c:axId val="354365200"/>
      </c:lineChart>
      <c:catAx>
        <c:axId val="354363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200"/>
        <c:crosses val="autoZero"/>
        <c:auto val="1"/>
        <c:lblAlgn val="ctr"/>
        <c:lblOffset val="100"/>
        <c:tickLblSkip val="1"/>
        <c:noMultiLvlLbl val="1"/>
      </c:catAx>
      <c:valAx>
        <c:axId val="354365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3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8.196552666510501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% změna 39. vs. 38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13-493D-97B1-A5AA545BC17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813-493D-97B1-A5AA545BC174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813-493D-97B1-A5AA545BC174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813-493D-97B1-A5AA545BC174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C9C-4C43-B6C0-8405007F8E99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C9C-4C43-B6C0-8405007F8E99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A68-4805-8D52-B9B59E53E580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A68-4805-8D52-B9B59E53E580}"/>
              </c:ext>
            </c:extLst>
          </c:dPt>
          <c:cat>
            <c:strRef>
              <c:f>List1!$A$2:$A$32</c:f>
              <c:strCache>
                <c:ptCount val="31"/>
                <c:pt idx="0">
                  <c:v>Lichtenštejnsko</c:v>
                </c:pt>
                <c:pt idx="1">
                  <c:v>Česká republika</c:v>
                </c:pt>
                <c:pt idx="2">
                  <c:v>Belgie</c:v>
                </c:pt>
                <c:pt idx="3">
                  <c:v>Polsko</c:v>
                </c:pt>
                <c:pt idx="4">
                  <c:v>Maďarsko</c:v>
                </c:pt>
                <c:pt idx="5">
                  <c:v>Lotyšsko</c:v>
                </c:pt>
                <c:pt idx="6">
                  <c:v>Nizozemsko</c:v>
                </c:pt>
                <c:pt idx="7">
                  <c:v>Slovinsko</c:v>
                </c:pt>
                <c:pt idx="8">
                  <c:v>Bulharsko</c:v>
                </c:pt>
                <c:pt idx="9">
                  <c:v>Island</c:v>
                </c:pt>
                <c:pt idx="10">
                  <c:v>Irsko</c:v>
                </c:pt>
                <c:pt idx="11">
                  <c:v>Estonsko</c:v>
                </c:pt>
                <c:pt idx="12">
                  <c:v>Dánsko</c:v>
                </c:pt>
                <c:pt idx="13">
                  <c:v>Finsko</c:v>
                </c:pt>
                <c:pt idx="14">
                  <c:v>Litva</c:v>
                </c:pt>
                <c:pt idx="15">
                  <c:v>Rakousko</c:v>
                </c:pt>
                <c:pt idx="16">
                  <c:v>Kypr</c:v>
                </c:pt>
                <c:pt idx="17">
                  <c:v>Chorvatsko</c:v>
                </c:pt>
                <c:pt idx="18">
                  <c:v>Německo</c:v>
                </c:pt>
                <c:pt idx="19">
                  <c:v>Rumunsko</c:v>
                </c:pt>
                <c:pt idx="20">
                  <c:v>Francie</c:v>
                </c:pt>
                <c:pt idx="21">
                  <c:v>Řecko</c:v>
                </c:pt>
                <c:pt idx="22">
                  <c:v>Portugalsko</c:v>
                </c:pt>
                <c:pt idx="23">
                  <c:v>Lucembursko</c:v>
                </c:pt>
                <c:pt idx="24">
                  <c:v>Slovensko</c:v>
                </c:pt>
                <c:pt idx="25">
                  <c:v>Švédsko</c:v>
                </c:pt>
                <c:pt idx="26">
                  <c:v>Itálie</c:v>
                </c:pt>
                <c:pt idx="27">
                  <c:v>Španělsko</c:v>
                </c:pt>
                <c:pt idx="28">
                  <c:v>Norsko</c:v>
                </c:pt>
                <c:pt idx="29">
                  <c:v>Velká Británie</c:v>
                </c:pt>
                <c:pt idx="30">
                  <c:v>Malta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0.3</c:v>
                </c:pt>
                <c:pt idx="1">
                  <c:v>1.3818630475015423</c:v>
                </c:pt>
                <c:pt idx="2">
                  <c:v>0.97583547557840622</c:v>
                </c:pt>
                <c:pt idx="3">
                  <c:v>1.4738610903659448</c:v>
                </c:pt>
                <c:pt idx="4">
                  <c:v>1.193069306930693</c:v>
                </c:pt>
                <c:pt idx="5">
                  <c:v>1.62210127780407</c:v>
                </c:pt>
                <c:pt idx="6">
                  <c:v>0.99423110039607365</c:v>
                </c:pt>
                <c:pt idx="7">
                  <c:v>1.0270590224928124</c:v>
                </c:pt>
                <c:pt idx="8">
                  <c:v>1.2302576112412178</c:v>
                </c:pt>
                <c:pt idx="9">
                  <c:v>0.94023904382470125</c:v>
                </c:pt>
                <c:pt idx="10">
                  <c:v>0.96122448979591835</c:v>
                </c:pt>
                <c:pt idx="11">
                  <c:v>1.3131606765327695</c:v>
                </c:pt>
                <c:pt idx="12">
                  <c:v>1.2376882376882377</c:v>
                </c:pt>
                <c:pt idx="13">
                  <c:v>0.86054637865311312</c:v>
                </c:pt>
                <c:pt idx="14">
                  <c:v>1.2130625248904818</c:v>
                </c:pt>
                <c:pt idx="15">
                  <c:v>1.0892225386142032</c:v>
                </c:pt>
                <c:pt idx="16">
                  <c:v>0.90246913580246912</c:v>
                </c:pt>
                <c:pt idx="17">
                  <c:v>1.1208651399491094</c:v>
                </c:pt>
                <c:pt idx="18">
                  <c:v>1.0455665944573094</c:v>
                </c:pt>
                <c:pt idx="19">
                  <c:v>1.5585738539898133</c:v>
                </c:pt>
                <c:pt idx="20">
                  <c:v>0.83978864207664294</c:v>
                </c:pt>
                <c:pt idx="21">
                  <c:v>1.0101415870925254</c:v>
                </c:pt>
                <c:pt idx="22">
                  <c:v>0.85108135942327501</c:v>
                </c:pt>
                <c:pt idx="23">
                  <c:v>0.98429319371727753</c:v>
                </c:pt>
                <c:pt idx="24">
                  <c:v>1.3014732740776818</c:v>
                </c:pt>
                <c:pt idx="25">
                  <c:v>0.98673801768264313</c:v>
                </c:pt>
                <c:pt idx="26">
                  <c:v>0.8974094120563566</c:v>
                </c:pt>
                <c:pt idx="27">
                  <c:v>0.85427790885384325</c:v>
                </c:pt>
                <c:pt idx="28">
                  <c:v>0.76827968450223838</c:v>
                </c:pt>
                <c:pt idx="29">
                  <c:v>1.0083843673768786</c:v>
                </c:pt>
                <c:pt idx="30">
                  <c:v>1.08256880733944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C9C-4C43-B6C0-8405007F8E99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% změna 41. vs. 40. týden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Lichtenštejnsko</c:v>
                </c:pt>
                <c:pt idx="1">
                  <c:v>Česká republika</c:v>
                </c:pt>
                <c:pt idx="2">
                  <c:v>Belgie</c:v>
                </c:pt>
                <c:pt idx="3">
                  <c:v>Polsko</c:v>
                </c:pt>
                <c:pt idx="4">
                  <c:v>Maďarsko</c:v>
                </c:pt>
                <c:pt idx="5">
                  <c:v>Lotyšsko</c:v>
                </c:pt>
                <c:pt idx="6">
                  <c:v>Nizozemsko</c:v>
                </c:pt>
                <c:pt idx="7">
                  <c:v>Slovinsko</c:v>
                </c:pt>
                <c:pt idx="8">
                  <c:v>Bulharsko</c:v>
                </c:pt>
                <c:pt idx="9">
                  <c:v>Island</c:v>
                </c:pt>
                <c:pt idx="10">
                  <c:v>Irsko</c:v>
                </c:pt>
                <c:pt idx="11">
                  <c:v>Estonsko</c:v>
                </c:pt>
                <c:pt idx="12">
                  <c:v>Dánsko</c:v>
                </c:pt>
                <c:pt idx="13">
                  <c:v>Finsko</c:v>
                </c:pt>
                <c:pt idx="14">
                  <c:v>Litva</c:v>
                </c:pt>
                <c:pt idx="15">
                  <c:v>Rakousko</c:v>
                </c:pt>
                <c:pt idx="16">
                  <c:v>Kypr</c:v>
                </c:pt>
                <c:pt idx="17">
                  <c:v>Chorvatsko</c:v>
                </c:pt>
                <c:pt idx="18">
                  <c:v>Německo</c:v>
                </c:pt>
                <c:pt idx="19">
                  <c:v>Rumunsko</c:v>
                </c:pt>
                <c:pt idx="20">
                  <c:v>Francie</c:v>
                </c:pt>
                <c:pt idx="21">
                  <c:v>Řecko</c:v>
                </c:pt>
                <c:pt idx="22">
                  <c:v>Portugalsko</c:v>
                </c:pt>
                <c:pt idx="23">
                  <c:v>Lucembursko</c:v>
                </c:pt>
                <c:pt idx="24">
                  <c:v>Slovensko</c:v>
                </c:pt>
                <c:pt idx="25">
                  <c:v>Švédsko</c:v>
                </c:pt>
                <c:pt idx="26">
                  <c:v>Itálie</c:v>
                </c:pt>
                <c:pt idx="27">
                  <c:v>Španělsko</c:v>
                </c:pt>
                <c:pt idx="28">
                  <c:v>Norsko</c:v>
                </c:pt>
                <c:pt idx="29">
                  <c:v>Velká Británie</c:v>
                </c:pt>
                <c:pt idx="30">
                  <c:v>Malta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2.7692307692307692</c:v>
                </c:pt>
                <c:pt idx="1">
                  <c:v>1.6175680214981525</c:v>
                </c:pt>
                <c:pt idx="2">
                  <c:v>1.5330678904035633</c:v>
                </c:pt>
                <c:pt idx="3">
                  <c:v>1.5161207996597192</c:v>
                </c:pt>
                <c:pt idx="4">
                  <c:v>1.5137554585152839</c:v>
                </c:pt>
                <c:pt idx="5">
                  <c:v>1.4883238194084067</c:v>
                </c:pt>
                <c:pt idx="6">
                  <c:v>1.4600755745524376</c:v>
                </c:pt>
                <c:pt idx="7">
                  <c:v>1.3465328794122917</c:v>
                </c:pt>
                <c:pt idx="8">
                  <c:v>1.3288270110304008</c:v>
                </c:pt>
                <c:pt idx="9">
                  <c:v>1.3017543859649123</c:v>
                </c:pt>
                <c:pt idx="10">
                  <c:v>1.254537823942923</c:v>
                </c:pt>
                <c:pt idx="11">
                  <c:v>1.2387596899224806</c:v>
                </c:pt>
                <c:pt idx="12">
                  <c:v>1.2186035035775968</c:v>
                </c:pt>
                <c:pt idx="13">
                  <c:v>1.1831697054698458</c:v>
                </c:pt>
                <c:pt idx="14">
                  <c:v>1.1697483479073494</c:v>
                </c:pt>
                <c:pt idx="15">
                  <c:v>1.1621919533894969</c:v>
                </c:pt>
                <c:pt idx="16">
                  <c:v>1.1524249422632795</c:v>
                </c:pt>
                <c:pt idx="17">
                  <c:v>1.1201975850713501</c:v>
                </c:pt>
                <c:pt idx="18">
                  <c:v>1.111473205048624</c:v>
                </c:pt>
                <c:pt idx="19">
                  <c:v>1.1084772387611952</c:v>
                </c:pt>
                <c:pt idx="20">
                  <c:v>1.1048825207116664</c:v>
                </c:pt>
                <c:pt idx="21">
                  <c:v>1.1030275643922278</c:v>
                </c:pt>
                <c:pt idx="22">
                  <c:v>1.0290858725761773</c:v>
                </c:pt>
                <c:pt idx="23">
                  <c:v>1.0144508670520231</c:v>
                </c:pt>
                <c:pt idx="24">
                  <c:v>1.0009081964731703</c:v>
                </c:pt>
                <c:pt idx="25">
                  <c:v>0.98116397005554212</c:v>
                </c:pt>
                <c:pt idx="26">
                  <c:v>0.96176567115195277</c:v>
                </c:pt>
                <c:pt idx="27">
                  <c:v>0.94862644202838409</c:v>
                </c:pt>
                <c:pt idx="28">
                  <c:v>0.92076592934962032</c:v>
                </c:pt>
                <c:pt idx="29">
                  <c:v>0.87139401342254397</c:v>
                </c:pt>
                <c:pt idx="30">
                  <c:v>0.78832116788321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1C9C-4C43-B6C0-8405007F8E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7552"/>
        <c:axId val="354365592"/>
      </c:barChart>
      <c:catAx>
        <c:axId val="354367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592"/>
        <c:crosses val="autoZero"/>
        <c:auto val="1"/>
        <c:lblAlgn val="ctr"/>
        <c:lblOffset val="100"/>
        <c:noMultiLvlLbl val="0"/>
      </c:catAx>
      <c:valAx>
        <c:axId val="354365592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5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487393863624522E-2"/>
          <c:y val="4.725794487389709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esty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132-4A67-A35E-085191B53D6A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A8A-46CC-A262-51EDB77F67BD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132-4A67-A35E-085191B53D6A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132-4A67-A35E-085191B53D6A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2A8A-46CC-A262-51EDB77F67BD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2A8A-46CC-A262-51EDB77F67BD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C132-4A67-A35E-085191B53D6A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C132-4A67-A35E-085191B53D6A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C132-4A67-A35E-085191B53D6A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C132-4A67-A35E-085191B53D6A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2A79-4038-AF5E-B780796E0BB4}"/>
              </c:ext>
            </c:extLst>
          </c:dPt>
          <c:cat>
            <c:strRef>
              <c:f>List1!$A$2:$A$30</c:f>
              <c:strCache>
                <c:ptCount val="29"/>
                <c:pt idx="0">
                  <c:v>Kypr</c:v>
                </c:pt>
                <c:pt idx="1">
                  <c:v>Dánsko</c:v>
                </c:pt>
                <c:pt idx="2">
                  <c:v>Rakousko</c:v>
                </c:pt>
                <c:pt idx="3">
                  <c:v>Řecko</c:v>
                </c:pt>
                <c:pt idx="4">
                  <c:v>Lucembursko</c:v>
                </c:pt>
                <c:pt idx="5">
                  <c:v>Slovinsko</c:v>
                </c:pt>
                <c:pt idx="6">
                  <c:v>Česká republika</c:v>
                </c:pt>
                <c:pt idx="7">
                  <c:v>Island</c:v>
                </c:pt>
                <c:pt idx="8">
                  <c:v>Malta</c:v>
                </c:pt>
                <c:pt idx="9">
                  <c:v>Lotyšsko</c:v>
                </c:pt>
                <c:pt idx="10">
                  <c:v>Francie</c:v>
                </c:pt>
                <c:pt idx="11">
                  <c:v>Norsko</c:v>
                </c:pt>
                <c:pt idx="12">
                  <c:v>Litva</c:v>
                </c:pt>
                <c:pt idx="13">
                  <c:v>Portugalsko</c:v>
                </c:pt>
                <c:pt idx="14">
                  <c:v>Belgie</c:v>
                </c:pt>
                <c:pt idx="15">
                  <c:v>Itálie</c:v>
                </c:pt>
                <c:pt idx="16">
                  <c:v>Slovensko</c:v>
                </c:pt>
                <c:pt idx="17">
                  <c:v>Nizozemsko</c:v>
                </c:pt>
                <c:pt idx="18">
                  <c:v>Irsko</c:v>
                </c:pt>
                <c:pt idx="19">
                  <c:v>Estonsko</c:v>
                </c:pt>
                <c:pt idx="20">
                  <c:v>Finsko</c:v>
                </c:pt>
                <c:pt idx="21">
                  <c:v>Švédsko</c:v>
                </c:pt>
                <c:pt idx="22">
                  <c:v>Španělsko</c:v>
                </c:pt>
                <c:pt idx="23">
                  <c:v>Chorvatsko</c:v>
                </c:pt>
                <c:pt idx="24">
                  <c:v>Německo</c:v>
                </c:pt>
                <c:pt idx="25">
                  <c:v>Bulharsko</c:v>
                </c:pt>
                <c:pt idx="26">
                  <c:v>Maďarsko</c:v>
                </c:pt>
                <c:pt idx="27">
                  <c:v>Rumunsko</c:v>
                </c:pt>
                <c:pt idx="28">
                  <c:v>Polsko</c:v>
                </c:pt>
              </c:strCache>
            </c:strRef>
          </c:cat>
          <c:val>
            <c:numRef>
              <c:f>List1!$B$2:$B$30</c:f>
              <c:numCache>
                <c:formatCode>General</c:formatCode>
                <c:ptCount val="29"/>
                <c:pt idx="0">
                  <c:v>1496327.8359919144</c:v>
                </c:pt>
                <c:pt idx="1">
                  <c:v>1423113.5974450619</c:v>
                </c:pt>
                <c:pt idx="2">
                  <c:v>1365991.9870253713</c:v>
                </c:pt>
                <c:pt idx="3">
                  <c:v>572041.69587999885</c:v>
                </c:pt>
                <c:pt idx="4">
                  <c:v>568669.46277639002</c:v>
                </c:pt>
                <c:pt idx="5">
                  <c:v>389794.55221505626</c:v>
                </c:pt>
                <c:pt idx="6" formatCode="0">
                  <c:v>368031.84495441761</c:v>
                </c:pt>
                <c:pt idx="7">
                  <c:v>297416.33574453357</c:v>
                </c:pt>
                <c:pt idx="8">
                  <c:v>246495.86834679457</c:v>
                </c:pt>
                <c:pt idx="9" formatCode="0">
                  <c:v>242453.87710170756</c:v>
                </c:pt>
                <c:pt idx="10">
                  <c:v>208789.24244687508</c:v>
                </c:pt>
                <c:pt idx="11" formatCode="0">
                  <c:v>202759.80982118571</c:v>
                </c:pt>
                <c:pt idx="12">
                  <c:v>192066.54044787391</c:v>
                </c:pt>
                <c:pt idx="13">
                  <c:v>188047.35939293946</c:v>
                </c:pt>
                <c:pt idx="14">
                  <c:v>181060.44379489066</c:v>
                </c:pt>
                <c:pt idx="15">
                  <c:v>163326.42974970714</c:v>
                </c:pt>
                <c:pt idx="16">
                  <c:v>159222.3930457891</c:v>
                </c:pt>
                <c:pt idx="17">
                  <c:v>156765.96724933415</c:v>
                </c:pt>
                <c:pt idx="18">
                  <c:v>156692.31574961124</c:v>
                </c:pt>
                <c:pt idx="19">
                  <c:v>145672.15660779426</c:v>
                </c:pt>
                <c:pt idx="20">
                  <c:v>132689.29497300775</c:v>
                </c:pt>
                <c:pt idx="21">
                  <c:v>128210.06916522337</c:v>
                </c:pt>
                <c:pt idx="22" formatCode="0">
                  <c:v>122854.08323318041</c:v>
                </c:pt>
                <c:pt idx="23">
                  <c:v>104727.30901774569</c:v>
                </c:pt>
                <c:pt idx="24">
                  <c:v>92718.34015415133</c:v>
                </c:pt>
                <c:pt idx="25">
                  <c:v>72262.518985160277</c:v>
                </c:pt>
                <c:pt idx="26">
                  <c:v>70342.552954974482</c:v>
                </c:pt>
                <c:pt idx="27">
                  <c:v>68856.130927270438</c:v>
                </c:pt>
                <c:pt idx="28" formatCode="0">
                  <c:v>58171.2253641103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5984"/>
        <c:axId val="354367944"/>
      </c:barChart>
      <c:catAx>
        <c:axId val="3543659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944"/>
        <c:crosses val="autoZero"/>
        <c:auto val="1"/>
        <c:lblAlgn val="ctr"/>
        <c:lblOffset val="100"/>
        <c:noMultiLvlLbl val="0"/>
      </c:catAx>
      <c:valAx>
        <c:axId val="35436794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179585351877881E-2"/>
          <c:y val="4.725786302175191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esty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C8-4C38-A27C-C7ACF4A14B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031-4F32-8B10-320319D083D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A43-4423-804C-AD52486F23B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C8-4C38-A27C-C7ACF4A14BBE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031-4F32-8B10-320319D083D6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031-4F32-8B10-320319D083D6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031-4F32-8B10-320319D083D6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4031-4F32-8B10-320319D083D6}"/>
              </c:ext>
            </c:extLst>
          </c:dPt>
          <c:cat>
            <c:strRef>
              <c:f>List1!$A$2:$A$30</c:f>
              <c:strCache>
                <c:ptCount val="29"/>
                <c:pt idx="0">
                  <c:v>Rumunsko</c:v>
                </c:pt>
                <c:pt idx="1">
                  <c:v>Estonsko</c:v>
                </c:pt>
                <c:pt idx="2">
                  <c:v>Bulharsko</c:v>
                </c:pt>
                <c:pt idx="3">
                  <c:v>Litva</c:v>
                </c:pt>
                <c:pt idx="4">
                  <c:v>Lotyšsko</c:v>
                </c:pt>
                <c:pt idx="5">
                  <c:v>Chorvatsko</c:v>
                </c:pt>
                <c:pt idx="6">
                  <c:v>Irsko</c:v>
                </c:pt>
                <c:pt idx="7">
                  <c:v>Německo</c:v>
                </c:pt>
                <c:pt idx="8">
                  <c:v>Maďarsko</c:v>
                </c:pt>
                <c:pt idx="9">
                  <c:v>Polsko</c:v>
                </c:pt>
                <c:pt idx="10">
                  <c:v>Belgie</c:v>
                </c:pt>
                <c:pt idx="11">
                  <c:v>Slovensko</c:v>
                </c:pt>
                <c:pt idx="12">
                  <c:v>Finsko</c:v>
                </c:pt>
                <c:pt idx="13">
                  <c:v>Lucembursko</c:v>
                </c:pt>
                <c:pt idx="14">
                  <c:v>Slovinsko</c:v>
                </c:pt>
                <c:pt idx="15">
                  <c:v>Norsko</c:v>
                </c:pt>
                <c:pt idx="16">
                  <c:v>Nizozemsko</c:v>
                </c:pt>
                <c:pt idx="17">
                  <c:v>Lichtenštejnsko</c:v>
                </c:pt>
                <c:pt idx="18">
                  <c:v>Španělsko</c:v>
                </c:pt>
                <c:pt idx="19">
                  <c:v>Island</c:v>
                </c:pt>
                <c:pt idx="20">
                  <c:v>Česká republika</c:v>
                </c:pt>
                <c:pt idx="21">
                  <c:v>Portugalsko</c:v>
                </c:pt>
                <c:pt idx="22">
                  <c:v>Francie</c:v>
                </c:pt>
                <c:pt idx="23">
                  <c:v>Dánsko</c:v>
                </c:pt>
                <c:pt idx="24">
                  <c:v>Malta</c:v>
                </c:pt>
                <c:pt idx="25">
                  <c:v>Itálie</c:v>
                </c:pt>
                <c:pt idx="26">
                  <c:v>Řecko</c:v>
                </c:pt>
                <c:pt idx="27">
                  <c:v>Rakousko</c:v>
                </c:pt>
                <c:pt idx="28">
                  <c:v>Kypr</c:v>
                </c:pt>
              </c:strCache>
            </c:strRef>
          </c:cat>
          <c:val>
            <c:numRef>
              <c:f>List1!$B$2:$B$30</c:f>
              <c:numCache>
                <c:formatCode>0.0%</c:formatCode>
                <c:ptCount val="29"/>
                <c:pt idx="0">
                  <c:v>0.23103523705131898</c:v>
                </c:pt>
                <c:pt idx="1">
                  <c:v>0.15556992027580263</c:v>
                </c:pt>
                <c:pt idx="2">
                  <c:v>0.14343888778418507</c:v>
                </c:pt>
                <c:pt idx="3">
                  <c:v>0.1055268061786992</c:v>
                </c:pt>
                <c:pt idx="4">
                  <c:v>9.9988322531675139E-2</c:v>
                </c:pt>
                <c:pt idx="5">
                  <c:v>8.9492973538991882E-2</c:v>
                </c:pt>
                <c:pt idx="6">
                  <c:v>7.4097829272918497E-2</c:v>
                </c:pt>
                <c:pt idx="7">
                  <c:v>6.552318435709352E-2</c:v>
                </c:pt>
                <c:pt idx="8">
                  <c:v>5.991205474462051E-2</c:v>
                </c:pt>
                <c:pt idx="9">
                  <c:v>5.6690785375437251E-2</c:v>
                </c:pt>
                <c:pt idx="10">
                  <c:v>5.6563881697323334E-2</c:v>
                </c:pt>
                <c:pt idx="11">
                  <c:v>5.4586748704395761E-2</c:v>
                </c:pt>
                <c:pt idx="12">
                  <c:v>4.8702192631157389E-2</c:v>
                </c:pt>
                <c:pt idx="13">
                  <c:v>4.352849336455894E-2</c:v>
                </c:pt>
                <c:pt idx="14">
                  <c:v>3.6619978245003758E-2</c:v>
                </c:pt>
                <c:pt idx="15">
                  <c:v>3.3701551846981745E-2</c:v>
                </c:pt>
                <c:pt idx="16">
                  <c:v>3.3591687552390531E-2</c:v>
                </c:pt>
                <c:pt idx="17">
                  <c:v>2.4078624078624079E-2</c:v>
                </c:pt>
                <c:pt idx="18">
                  <c:v>2.1919903055379986E-2</c:v>
                </c:pt>
                <c:pt idx="19">
                  <c:v>1.8696916148891296E-2</c:v>
                </c:pt>
                <c:pt idx="20">
                  <c:v>1.690717489081122E-2</c:v>
                </c:pt>
                <c:pt idx="21">
                  <c:v>1.3992403668906937E-2</c:v>
                </c:pt>
                <c:pt idx="22">
                  <c:v>1.0887429184204139E-2</c:v>
                </c:pt>
                <c:pt idx="23">
                  <c:v>1.000994092220143E-2</c:v>
                </c:pt>
                <c:pt idx="24">
                  <c:v>8.4998612267554816E-3</c:v>
                </c:pt>
                <c:pt idx="25">
                  <c:v>8.2954527318788943E-3</c:v>
                </c:pt>
                <c:pt idx="26">
                  <c:v>5.6755009921412658E-3</c:v>
                </c:pt>
                <c:pt idx="27">
                  <c:v>3.7844336330893611E-3</c:v>
                </c:pt>
                <c:pt idx="28">
                  <c:v>2.601048791991448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6768"/>
        <c:axId val="354367160"/>
      </c:barChart>
      <c:catAx>
        <c:axId val="3543667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160"/>
        <c:crosses val="autoZero"/>
        <c:auto val="1"/>
        <c:lblAlgn val="ctr"/>
        <c:lblOffset val="100"/>
        <c:noMultiLvlLbl val="0"/>
      </c:catAx>
      <c:valAx>
        <c:axId val="354367160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6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487393863624522E-2"/>
          <c:y val="4.725794487389709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0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457-4C08-8B8D-49B5CD97021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790-4FF7-B806-ED2F71D73D6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790-4FF7-B806-ED2F71D73D6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B55-4A16-9A6E-E29737EBB7F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FEF-4C58-AB71-BCAF2B9C942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B55-4A16-9A6E-E29737EBB7F9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FEF-4C58-AB71-BCAF2B9C942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FEF-4C58-AB71-BCAF2B9C9422}"/>
              </c:ext>
            </c:extLst>
          </c:dPt>
          <c:cat>
            <c:strRef>
              <c:f>List1!$A$2:$A$30</c:f>
              <c:strCache>
                <c:ptCount val="29"/>
                <c:pt idx="0">
                  <c:v>Rumunsko</c:v>
                </c:pt>
                <c:pt idx="1">
                  <c:v>Estonsko</c:v>
                </c:pt>
                <c:pt idx="2">
                  <c:v>Bulharsko</c:v>
                </c:pt>
                <c:pt idx="3">
                  <c:v>Litva</c:v>
                </c:pt>
                <c:pt idx="4">
                  <c:v>Lotyšsko</c:v>
                </c:pt>
                <c:pt idx="5">
                  <c:v>Chorvatsko</c:v>
                </c:pt>
                <c:pt idx="6">
                  <c:v>Irsko</c:v>
                </c:pt>
                <c:pt idx="7">
                  <c:v>Německo</c:v>
                </c:pt>
                <c:pt idx="8">
                  <c:v>Maďarsko</c:v>
                </c:pt>
                <c:pt idx="9">
                  <c:v>Polsko</c:v>
                </c:pt>
                <c:pt idx="10">
                  <c:v>Belgie</c:v>
                </c:pt>
                <c:pt idx="11">
                  <c:v>Slovensko</c:v>
                </c:pt>
                <c:pt idx="12">
                  <c:v>Finsko</c:v>
                </c:pt>
                <c:pt idx="13">
                  <c:v>Lucembursko</c:v>
                </c:pt>
                <c:pt idx="14">
                  <c:v>Slovinsko</c:v>
                </c:pt>
                <c:pt idx="15">
                  <c:v>Lichtenštejnsko</c:v>
                </c:pt>
                <c:pt idx="16">
                  <c:v>Norsko</c:v>
                </c:pt>
                <c:pt idx="17">
                  <c:v>Nizozemsko</c:v>
                </c:pt>
                <c:pt idx="18">
                  <c:v>Španělsko</c:v>
                </c:pt>
                <c:pt idx="19">
                  <c:v>Island</c:v>
                </c:pt>
                <c:pt idx="20">
                  <c:v>Česká republika</c:v>
                </c:pt>
                <c:pt idx="21">
                  <c:v>Portugalsko</c:v>
                </c:pt>
                <c:pt idx="22">
                  <c:v>Francie</c:v>
                </c:pt>
                <c:pt idx="23">
                  <c:v>Dánsko</c:v>
                </c:pt>
                <c:pt idx="24">
                  <c:v>Malta</c:v>
                </c:pt>
                <c:pt idx="25">
                  <c:v>Itálie</c:v>
                </c:pt>
                <c:pt idx="26">
                  <c:v>Řecko</c:v>
                </c:pt>
                <c:pt idx="27">
                  <c:v>Rakousko</c:v>
                </c:pt>
                <c:pt idx="28">
                  <c:v>Kypr</c:v>
                </c:pt>
              </c:strCache>
            </c:strRef>
          </c:cat>
          <c:val>
            <c:numRef>
              <c:f>List1!$B$2:$B$30</c:f>
              <c:numCache>
                <c:formatCode>0.0%</c:formatCode>
                <c:ptCount val="29"/>
                <c:pt idx="0">
                  <c:v>0.22138313441558755</c:v>
                </c:pt>
                <c:pt idx="1">
                  <c:v>0.14761076528744049</c:v>
                </c:pt>
                <c:pt idx="2">
                  <c:v>0.12403437056811546</c:v>
                </c:pt>
                <c:pt idx="3">
                  <c:v>9.7233129750183361E-2</c:v>
                </c:pt>
                <c:pt idx="4">
                  <c:v>8.5093041535295733E-2</c:v>
                </c:pt>
                <c:pt idx="5">
                  <c:v>8.3723922433599857E-2</c:v>
                </c:pt>
                <c:pt idx="6">
                  <c:v>6.8204750216471904E-2</c:v>
                </c:pt>
                <c:pt idx="7">
                  <c:v>6.176943288554506E-2</c:v>
                </c:pt>
                <c:pt idx="8">
                  <c:v>5.0046987346198397E-2</c:v>
                </c:pt>
                <c:pt idx="9">
                  <c:v>4.6193687321198405E-2</c:v>
                </c:pt>
                <c:pt idx="10">
                  <c:v>4.7488110346242098E-2</c:v>
                </c:pt>
                <c:pt idx="11">
                  <c:v>5.5080329823332747E-2</c:v>
                </c:pt>
                <c:pt idx="12">
                  <c:v>4.4289565552284048E-2</c:v>
                </c:pt>
                <c:pt idx="13">
                  <c:v>4.4518785383427691E-2</c:v>
                </c:pt>
                <c:pt idx="14">
                  <c:v>3.1042116270273878E-2</c:v>
                </c:pt>
                <c:pt idx="15">
                  <c:v>1.1959521619135235E-2</c:v>
                </c:pt>
                <c:pt idx="16">
                  <c:v>3.120910823759724E-2</c:v>
                </c:pt>
                <c:pt idx="17">
                  <c:v>3.0431446770888514E-2</c:v>
                </c:pt>
                <c:pt idx="18">
                  <c:v>2.1187811688905458E-2</c:v>
                </c:pt>
                <c:pt idx="19">
                  <c:v>1.6044587062996114E-2</c:v>
                </c:pt>
                <c:pt idx="20">
                  <c:v>1.3484194458661908E-2</c:v>
                </c:pt>
                <c:pt idx="21">
                  <c:v>1.5659227449194266E-2</c:v>
                </c:pt>
                <c:pt idx="22">
                  <c:v>1.0312754628081492E-2</c:v>
                </c:pt>
                <c:pt idx="23">
                  <c:v>9.3693652041240919E-3</c:v>
                </c:pt>
                <c:pt idx="24">
                  <c:v>9.4074023209503536E-3</c:v>
                </c:pt>
                <c:pt idx="25">
                  <c:v>9.4715377234737882E-3</c:v>
                </c:pt>
                <c:pt idx="26">
                  <c:v>4.8671363825592449E-3</c:v>
                </c:pt>
                <c:pt idx="27">
                  <c:v>3.4682939603733558E-3</c:v>
                </c:pt>
                <c:pt idx="28">
                  <c:v>2.407160329108294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41. týd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List1!$A$2:$A$30</c:f>
              <c:strCache>
                <c:ptCount val="29"/>
                <c:pt idx="0">
                  <c:v>Rumunsko</c:v>
                </c:pt>
                <c:pt idx="1">
                  <c:v>Estonsko</c:v>
                </c:pt>
                <c:pt idx="2">
                  <c:v>Bulharsko</c:v>
                </c:pt>
                <c:pt idx="3">
                  <c:v>Litva</c:v>
                </c:pt>
                <c:pt idx="4">
                  <c:v>Lotyšsko</c:v>
                </c:pt>
                <c:pt idx="5">
                  <c:v>Chorvatsko</c:v>
                </c:pt>
                <c:pt idx="6">
                  <c:v>Irsko</c:v>
                </c:pt>
                <c:pt idx="7">
                  <c:v>Německo</c:v>
                </c:pt>
                <c:pt idx="8">
                  <c:v>Maďarsko</c:v>
                </c:pt>
                <c:pt idx="9">
                  <c:v>Polsko</c:v>
                </c:pt>
                <c:pt idx="10">
                  <c:v>Belgie</c:v>
                </c:pt>
                <c:pt idx="11">
                  <c:v>Slovensko</c:v>
                </c:pt>
                <c:pt idx="12">
                  <c:v>Finsko</c:v>
                </c:pt>
                <c:pt idx="13">
                  <c:v>Lucembursko</c:v>
                </c:pt>
                <c:pt idx="14">
                  <c:v>Slovinsko</c:v>
                </c:pt>
                <c:pt idx="15">
                  <c:v>Lichtenštejnsko</c:v>
                </c:pt>
                <c:pt idx="16">
                  <c:v>Norsko</c:v>
                </c:pt>
                <c:pt idx="17">
                  <c:v>Nizozemsko</c:v>
                </c:pt>
                <c:pt idx="18">
                  <c:v>Španělsko</c:v>
                </c:pt>
                <c:pt idx="19">
                  <c:v>Island</c:v>
                </c:pt>
                <c:pt idx="20">
                  <c:v>Česká republika</c:v>
                </c:pt>
                <c:pt idx="21">
                  <c:v>Portugalsko</c:v>
                </c:pt>
                <c:pt idx="22">
                  <c:v>Francie</c:v>
                </c:pt>
                <c:pt idx="23">
                  <c:v>Dánsko</c:v>
                </c:pt>
                <c:pt idx="24">
                  <c:v>Malta</c:v>
                </c:pt>
                <c:pt idx="25">
                  <c:v>Itálie</c:v>
                </c:pt>
                <c:pt idx="26">
                  <c:v>Řecko</c:v>
                </c:pt>
                <c:pt idx="27">
                  <c:v>Rakousko</c:v>
                </c:pt>
                <c:pt idx="28">
                  <c:v>Kypr</c:v>
                </c:pt>
              </c:strCache>
            </c:strRef>
          </c:cat>
          <c:val>
            <c:numRef>
              <c:f>List1!$C$2:$C$30</c:f>
              <c:numCache>
                <c:formatCode>0.0%</c:formatCode>
                <c:ptCount val="29"/>
                <c:pt idx="0">
                  <c:v>0.24049446531145494</c:v>
                </c:pt>
                <c:pt idx="1">
                  <c:v>0.16264962136633826</c:v>
                </c:pt>
                <c:pt idx="2">
                  <c:v>0.16257961521370615</c:v>
                </c:pt>
                <c:pt idx="3">
                  <c:v>0.1138269471851799</c:v>
                </c:pt>
                <c:pt idx="4">
                  <c:v>0.11331579072138065</c:v>
                </c:pt>
                <c:pt idx="5">
                  <c:v>9.5358681331003489E-2</c:v>
                </c:pt>
                <c:pt idx="6">
                  <c:v>7.957858027074155E-2</c:v>
                </c:pt>
                <c:pt idx="7">
                  <c:v>6.9312903225806452E-2</c:v>
                </c:pt>
                <c:pt idx="8">
                  <c:v>6.8881580908287054E-2</c:v>
                </c:pt>
                <c:pt idx="9">
                  <c:v>6.6685874433589143E-2</c:v>
                </c:pt>
                <c:pt idx="10">
                  <c:v>6.4619542028161003E-2</c:v>
                </c:pt>
                <c:pt idx="11">
                  <c:v>5.4102371095220175E-2</c:v>
                </c:pt>
                <c:pt idx="12">
                  <c:v>5.3180356805144047E-2</c:v>
                </c:pt>
                <c:pt idx="13">
                  <c:v>4.2594502760754806E-2</c:v>
                </c:pt>
                <c:pt idx="14">
                  <c:v>4.2259223644921302E-2</c:v>
                </c:pt>
                <c:pt idx="15">
                  <c:v>3.7974683544303799E-2</c:v>
                </c:pt>
                <c:pt idx="16">
                  <c:v>3.6902273148270659E-2</c:v>
                </c:pt>
                <c:pt idx="17">
                  <c:v>3.6163840455630633E-2</c:v>
                </c:pt>
                <c:pt idx="18">
                  <c:v>2.2748486917132219E-2</c:v>
                </c:pt>
                <c:pt idx="19">
                  <c:v>2.141661375050511E-2</c:v>
                </c:pt>
                <c:pt idx="20">
                  <c:v>2.0054389018915385E-2</c:v>
                </c:pt>
                <c:pt idx="21">
                  <c:v>1.2680767786639966E-2</c:v>
                </c:pt>
                <c:pt idx="22">
                  <c:v>1.146570067407369E-2</c:v>
                </c:pt>
                <c:pt idx="23">
                  <c:v>1.0604925202962251E-2</c:v>
                </c:pt>
                <c:pt idx="24">
                  <c:v>7.5731014655353764E-3</c:v>
                </c:pt>
                <c:pt idx="25">
                  <c:v>7.3469162632053744E-3</c:v>
                </c:pt>
                <c:pt idx="26">
                  <c:v>6.6815649885525359E-3</c:v>
                </c:pt>
                <c:pt idx="27">
                  <c:v>4.1065094058010806E-3</c:v>
                </c:pt>
                <c:pt idx="28">
                  <c:v>2.796505209121426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7DCA-49BB-91DA-A5CFB36956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9904824"/>
        <c:axId val="359794704"/>
      </c:barChart>
      <c:catAx>
        <c:axId val="299904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704"/>
        <c:crosses val="autoZero"/>
        <c:auto val="1"/>
        <c:lblAlgn val="ctr"/>
        <c:lblOffset val="100"/>
        <c:noMultiLvlLbl val="0"/>
      </c:catAx>
      <c:valAx>
        <c:axId val="35979470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9904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2">
                  <a:lumMod val="2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9535243648902862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H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H$2:$H$42</c:f>
              <c:numCache>
                <c:formatCode>0.0%</c:formatCode>
                <c:ptCount val="41"/>
                <c:pt idx="0">
                  <c:v>4.8302140898510468E-2</c:v>
                </c:pt>
                <c:pt idx="1">
                  <c:v>4.6174632113556456E-2</c:v>
                </c:pt>
                <c:pt idx="2">
                  <c:v>4.9433362391672224E-2</c:v>
                </c:pt>
                <c:pt idx="3">
                  <c:v>4.7978457960280455E-2</c:v>
                </c:pt>
                <c:pt idx="4">
                  <c:v>4.4145680458423764E-2</c:v>
                </c:pt>
                <c:pt idx="5">
                  <c:v>4.3175603713929908E-2</c:v>
                </c:pt>
                <c:pt idx="6">
                  <c:v>5.8835904891784162E-2</c:v>
                </c:pt>
                <c:pt idx="7">
                  <c:v>5.8803740132902349E-2</c:v>
                </c:pt>
                <c:pt idx="8">
                  <c:v>5.3987741960510496E-2</c:v>
                </c:pt>
                <c:pt idx="9">
                  <c:v>6.3378086719241597E-2</c:v>
                </c:pt>
                <c:pt idx="10">
                  <c:v>7.1124079877997529E-2</c:v>
                </c:pt>
                <c:pt idx="11">
                  <c:v>7.1208291885672986E-2</c:v>
                </c:pt>
                <c:pt idx="12">
                  <c:v>7.2776936065459263E-2</c:v>
                </c:pt>
                <c:pt idx="13">
                  <c:v>8.5721802269498576E-2</c:v>
                </c:pt>
                <c:pt idx="14">
                  <c:v>8.7193923019252259E-2</c:v>
                </c:pt>
                <c:pt idx="15">
                  <c:v>7.9295338118867534E-2</c:v>
                </c:pt>
                <c:pt idx="16">
                  <c:v>6.3285537529690503E-2</c:v>
                </c:pt>
                <c:pt idx="17">
                  <c:v>5.7255654912789757E-2</c:v>
                </c:pt>
                <c:pt idx="18">
                  <c:v>5.0549457999172931E-2</c:v>
                </c:pt>
                <c:pt idx="19">
                  <c:v>4.8508132361189005E-2</c:v>
                </c:pt>
                <c:pt idx="20">
                  <c:v>3.965911965185584E-2</c:v>
                </c:pt>
                <c:pt idx="21">
                  <c:v>2.9202621413333844E-2</c:v>
                </c:pt>
                <c:pt idx="22">
                  <c:v>1.8954046663843774E-2</c:v>
                </c:pt>
                <c:pt idx="23">
                  <c:v>1.1057291894972164E-2</c:v>
                </c:pt>
                <c:pt idx="24">
                  <c:v>8.3329092235397903E-3</c:v>
                </c:pt>
                <c:pt idx="25">
                  <c:v>9.0244457153203592E-3</c:v>
                </c:pt>
                <c:pt idx="26">
                  <c:v>1.7584280449370854E-2</c:v>
                </c:pt>
                <c:pt idx="27">
                  <c:v>1.8972377602214405E-2</c:v>
                </c:pt>
                <c:pt idx="28">
                  <c:v>2.4618491601837499E-2</c:v>
                </c:pt>
                <c:pt idx="29">
                  <c:v>2.9391605749058546E-2</c:v>
                </c:pt>
                <c:pt idx="30">
                  <c:v>3.4757177247677219E-2</c:v>
                </c:pt>
                <c:pt idx="31">
                  <c:v>3.7917266248428762E-2</c:v>
                </c:pt>
                <c:pt idx="32">
                  <c:v>4.5085497976765435E-2</c:v>
                </c:pt>
                <c:pt idx="33">
                  <c:v>4.9200800943271172E-2</c:v>
                </c:pt>
                <c:pt idx="34">
                  <c:v>4.8734325268836261E-2</c:v>
                </c:pt>
                <c:pt idx="35">
                  <c:v>4.5926198398234377E-2</c:v>
                </c:pt>
                <c:pt idx="36">
                  <c:v>4.3689716810786774E-2</c:v>
                </c:pt>
                <c:pt idx="37">
                  <c:v>4.0957222790445821E-2</c:v>
                </c:pt>
                <c:pt idx="38">
                  <c:v>4.2790979303414647E-2</c:v>
                </c:pt>
                <c:pt idx="39">
                  <c:v>4.7488110346242098E-2</c:v>
                </c:pt>
                <c:pt idx="40">
                  <c:v>6.461954202816100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C$2:$C$42</c:f>
              <c:numCache>
                <c:formatCode>0.0%</c:formatCode>
                <c:ptCount val="41"/>
                <c:pt idx="0">
                  <c:v>0.20380309557490067</c:v>
                </c:pt>
                <c:pt idx="1">
                  <c:v>0.15120267547056554</c:v>
                </c:pt>
                <c:pt idx="2">
                  <c:v>0.1458402085421126</c:v>
                </c:pt>
                <c:pt idx="3">
                  <c:v>0.13092830222045382</c:v>
                </c:pt>
                <c:pt idx="4">
                  <c:v>0.12605479921053692</c:v>
                </c:pt>
                <c:pt idx="5">
                  <c:v>0.1289395794568225</c:v>
                </c:pt>
                <c:pt idx="6">
                  <c:v>0.13557866674299218</c:v>
                </c:pt>
                <c:pt idx="7">
                  <c:v>0.13958113210086748</c:v>
                </c:pt>
                <c:pt idx="8">
                  <c:v>0.11580954190186712</c:v>
                </c:pt>
                <c:pt idx="9">
                  <c:v>6.5007640326773489E-2</c:v>
                </c:pt>
                <c:pt idx="10">
                  <c:v>5.1068298307653248E-2</c:v>
                </c:pt>
                <c:pt idx="11">
                  <c:v>3.8210747569664465E-2</c:v>
                </c:pt>
                <c:pt idx="12">
                  <c:v>3.0646181249917227E-2</c:v>
                </c:pt>
                <c:pt idx="13">
                  <c:v>2.0948579090605744E-2</c:v>
                </c:pt>
                <c:pt idx="14">
                  <c:v>1.5982622222783519E-2</c:v>
                </c:pt>
                <c:pt idx="15">
                  <c:v>1.2917360234398791E-2</c:v>
                </c:pt>
                <c:pt idx="16">
                  <c:v>1.047994354376487E-2</c:v>
                </c:pt>
                <c:pt idx="17">
                  <c:v>7.490670371090009E-3</c:v>
                </c:pt>
                <c:pt idx="18">
                  <c:v>5.2677187373770503E-3</c:v>
                </c:pt>
                <c:pt idx="19">
                  <c:v>3.121000670840088E-3</c:v>
                </c:pt>
                <c:pt idx="20">
                  <c:v>2.2625589392703937E-3</c:v>
                </c:pt>
                <c:pt idx="21">
                  <c:v>1.8111450684720964E-3</c:v>
                </c:pt>
                <c:pt idx="22">
                  <c:v>1.2664100410015925E-3</c:v>
                </c:pt>
                <c:pt idx="23">
                  <c:v>8.6870537759354649E-4</c:v>
                </c:pt>
                <c:pt idx="24">
                  <c:v>7.3833273767358841E-4</c:v>
                </c:pt>
                <c:pt idx="25">
                  <c:v>1.1403838575097731E-3</c:v>
                </c:pt>
                <c:pt idx="26">
                  <c:v>2.5224454895254383E-3</c:v>
                </c:pt>
                <c:pt idx="27">
                  <c:v>2.2084118033618007E-3</c:v>
                </c:pt>
                <c:pt idx="28">
                  <c:v>1.8520543546116568E-3</c:v>
                </c:pt>
                <c:pt idx="29">
                  <c:v>1.5572219478251197E-3</c:v>
                </c:pt>
                <c:pt idx="30">
                  <c:v>1.6315955610761972E-3</c:v>
                </c:pt>
                <c:pt idx="31">
                  <c:v>1.7111807012205795E-3</c:v>
                </c:pt>
                <c:pt idx="32">
                  <c:v>1.9260560663346767E-3</c:v>
                </c:pt>
                <c:pt idx="33">
                  <c:v>2.3202843190257998E-3</c:v>
                </c:pt>
                <c:pt idx="34">
                  <c:v>3.1126852608654616E-3</c:v>
                </c:pt>
                <c:pt idx="35">
                  <c:v>4.9392558845861804E-3</c:v>
                </c:pt>
                <c:pt idx="36">
                  <c:v>6.0168067226890757E-3</c:v>
                </c:pt>
                <c:pt idx="37">
                  <c:v>6.3209695532817573E-3</c:v>
                </c:pt>
                <c:pt idx="38">
                  <c:v>9.8284841757017051E-3</c:v>
                </c:pt>
                <c:pt idx="39">
                  <c:v>1.3484194458661908E-2</c:v>
                </c:pt>
                <c:pt idx="40">
                  <c:v>2.005438901891538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D$2:$D$42</c:f>
              <c:numCache>
                <c:formatCode>0.0%</c:formatCode>
                <c:ptCount val="41"/>
                <c:pt idx="0">
                  <c:v>6.2888281994283896E-2</c:v>
                </c:pt>
                <c:pt idx="1">
                  <c:v>6.4129305237496048E-2</c:v>
                </c:pt>
                <c:pt idx="2">
                  <c:v>6.8371791746904664E-2</c:v>
                </c:pt>
                <c:pt idx="3">
                  <c:v>6.4332837018621872E-2</c:v>
                </c:pt>
                <c:pt idx="4">
                  <c:v>6.1373632517658462E-2</c:v>
                </c:pt>
                <c:pt idx="5">
                  <c:v>5.4581165248025781E-2</c:v>
                </c:pt>
                <c:pt idx="6">
                  <c:v>5.8391836782161713E-2</c:v>
                </c:pt>
                <c:pt idx="7">
                  <c:v>6.5676362313978415E-2</c:v>
                </c:pt>
                <c:pt idx="8">
                  <c:v>6.5439393212823424E-2</c:v>
                </c:pt>
                <c:pt idx="9">
                  <c:v>6.8747565049206177E-2</c:v>
                </c:pt>
                <c:pt idx="10">
                  <c:v>7.4859334333447519E-2</c:v>
                </c:pt>
                <c:pt idx="11">
                  <c:v>7.7005439748638729E-2</c:v>
                </c:pt>
                <c:pt idx="12">
                  <c:v>7.01030678791668E-2</c:v>
                </c:pt>
                <c:pt idx="13">
                  <c:v>8.1004401308218052E-2</c:v>
                </c:pt>
                <c:pt idx="14">
                  <c:v>8.8846647030388512E-2</c:v>
                </c:pt>
                <c:pt idx="15">
                  <c:v>9.0283068258177793E-2</c:v>
                </c:pt>
                <c:pt idx="16">
                  <c:v>6.3232961737300419E-2</c:v>
                </c:pt>
                <c:pt idx="17">
                  <c:v>4.924939576698064E-2</c:v>
                </c:pt>
                <c:pt idx="18">
                  <c:v>4.3219747302988672E-2</c:v>
                </c:pt>
                <c:pt idx="19">
                  <c:v>4.2735671736986267E-2</c:v>
                </c:pt>
                <c:pt idx="20">
                  <c:v>3.1039127582161957E-2</c:v>
                </c:pt>
                <c:pt idx="21">
                  <c:v>2.2835577477187678E-2</c:v>
                </c:pt>
                <c:pt idx="22">
                  <c:v>1.4744763765239611E-2</c:v>
                </c:pt>
                <c:pt idx="23">
                  <c:v>9.4561868832473937E-3</c:v>
                </c:pt>
                <c:pt idx="24">
                  <c:v>7.705047624590196E-3</c:v>
                </c:pt>
                <c:pt idx="25">
                  <c:v>9.1081376048108443E-3</c:v>
                </c:pt>
                <c:pt idx="26">
                  <c:v>1.2861611184872768E-2</c:v>
                </c:pt>
                <c:pt idx="27">
                  <c:v>2.5439808860872309E-2</c:v>
                </c:pt>
                <c:pt idx="28">
                  <c:v>4.3476493508685689E-2</c:v>
                </c:pt>
                <c:pt idx="29">
                  <c:v>4.2672204179965458E-2</c:v>
                </c:pt>
                <c:pt idx="30">
                  <c:v>4.3452926019652338E-2</c:v>
                </c:pt>
                <c:pt idx="31">
                  <c:v>3.569634744958456E-2</c:v>
                </c:pt>
                <c:pt idx="32">
                  <c:v>3.0883279760410137E-2</c:v>
                </c:pt>
                <c:pt idx="33">
                  <c:v>2.8024523881637287E-2</c:v>
                </c:pt>
                <c:pt idx="34">
                  <c:v>2.428610271684685E-2</c:v>
                </c:pt>
                <c:pt idx="35">
                  <c:v>1.9414660121078852E-2</c:v>
                </c:pt>
                <c:pt idx="36">
                  <c:v>1.4649595388796333E-2</c:v>
                </c:pt>
                <c:pt idx="37">
                  <c:v>1.2254226318768931E-2</c:v>
                </c:pt>
                <c:pt idx="38">
                  <c:v>1.0707965267468554E-2</c:v>
                </c:pt>
                <c:pt idx="39">
                  <c:v>1.0312754628081492E-2</c:v>
                </c:pt>
                <c:pt idx="40">
                  <c:v>1.14657006740736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F$2:$F$42</c:f>
              <c:numCache>
                <c:formatCode>0.0%</c:formatCode>
                <c:ptCount val="41"/>
                <c:pt idx="0">
                  <c:v>0.12542041665544174</c:v>
                </c:pt>
                <c:pt idx="1">
                  <c:v>7.9667056692052526E-2</c:v>
                </c:pt>
                <c:pt idx="2">
                  <c:v>5.6603923416352772E-2</c:v>
                </c:pt>
                <c:pt idx="3">
                  <c:v>4.9760170740195453E-2</c:v>
                </c:pt>
                <c:pt idx="4">
                  <c:v>4.9354952830188682E-2</c:v>
                </c:pt>
                <c:pt idx="5">
                  <c:v>4.7147196203460411E-2</c:v>
                </c:pt>
                <c:pt idx="6">
                  <c:v>4.6217171562212028E-2</c:v>
                </c:pt>
                <c:pt idx="7">
                  <c:v>5.594113256455803E-2</c:v>
                </c:pt>
                <c:pt idx="8">
                  <c:v>6.4354616694072914E-2</c:v>
                </c:pt>
                <c:pt idx="9">
                  <c:v>6.8256434340630542E-2</c:v>
                </c:pt>
                <c:pt idx="10">
                  <c:v>6.7575439925665864E-2</c:v>
                </c:pt>
                <c:pt idx="11">
                  <c:v>7.0687298798123854E-2</c:v>
                </c:pt>
                <c:pt idx="12">
                  <c:v>6.4652664056010445E-2</c:v>
                </c:pt>
                <c:pt idx="13">
                  <c:v>5.474915935374966E-2</c:v>
                </c:pt>
                <c:pt idx="14">
                  <c:v>4.9185174580231791E-2</c:v>
                </c:pt>
                <c:pt idx="15">
                  <c:v>4.5552387238853832E-2</c:v>
                </c:pt>
                <c:pt idx="16">
                  <c:v>4.1274954005135735E-2</c:v>
                </c:pt>
                <c:pt idx="17">
                  <c:v>3.3522382728667872E-2</c:v>
                </c:pt>
                <c:pt idx="18">
                  <c:v>2.6534591832383256E-2</c:v>
                </c:pt>
                <c:pt idx="19">
                  <c:v>1.9966554315417325E-2</c:v>
                </c:pt>
                <c:pt idx="20">
                  <c:v>1.5601339278696771E-2</c:v>
                </c:pt>
                <c:pt idx="21">
                  <c:v>1.3222199771539708E-2</c:v>
                </c:pt>
                <c:pt idx="22">
                  <c:v>9.7443021203488661E-3</c:v>
                </c:pt>
                <c:pt idx="23">
                  <c:v>6.1756242684354269E-3</c:v>
                </c:pt>
                <c:pt idx="24">
                  <c:v>4.187354731349088E-3</c:v>
                </c:pt>
                <c:pt idx="25">
                  <c:v>4.3408098157885376E-3</c:v>
                </c:pt>
                <c:pt idx="26">
                  <c:v>6.8108593800141198E-3</c:v>
                </c:pt>
                <c:pt idx="27">
                  <c:v>1.2609648695592545E-2</c:v>
                </c:pt>
                <c:pt idx="28">
                  <c:v>2.0863076873790815E-2</c:v>
                </c:pt>
                <c:pt idx="29">
                  <c:v>2.5569832545335174E-2</c:v>
                </c:pt>
                <c:pt idx="30">
                  <c:v>2.8072768136666513E-2</c:v>
                </c:pt>
                <c:pt idx="31">
                  <c:v>3.0902234636871508E-2</c:v>
                </c:pt>
                <c:pt idx="32">
                  <c:v>3.146811833628007E-2</c:v>
                </c:pt>
                <c:pt idx="33">
                  <c:v>2.8257319762290012E-2</c:v>
                </c:pt>
                <c:pt idx="34">
                  <c:v>2.1661329421106046E-2</c:v>
                </c:pt>
                <c:pt idx="35">
                  <c:v>1.8084808770974535E-2</c:v>
                </c:pt>
                <c:pt idx="36">
                  <c:v>1.510077522533196E-2</c:v>
                </c:pt>
                <c:pt idx="37">
                  <c:v>1.2233858110901847E-2</c:v>
                </c:pt>
                <c:pt idx="38">
                  <c:v>1.0848527681976311E-2</c:v>
                </c:pt>
                <c:pt idx="39">
                  <c:v>9.4715377234737882E-3</c:v>
                </c:pt>
                <c:pt idx="40">
                  <c:v>7.3469162632053744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J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J$2:$J$42</c:f>
              <c:numCache>
                <c:formatCode>0.0%</c:formatCode>
                <c:ptCount val="41"/>
                <c:pt idx="0">
                  <c:v>0.1128292281429094</c:v>
                </c:pt>
                <c:pt idx="1">
                  <c:v>8.1488353659635027E-2</c:v>
                </c:pt>
                <c:pt idx="2">
                  <c:v>7.8309767659030236E-2</c:v>
                </c:pt>
                <c:pt idx="3">
                  <c:v>7.6060833990717128E-2</c:v>
                </c:pt>
                <c:pt idx="4">
                  <c:v>8.5653822583116282E-2</c:v>
                </c:pt>
                <c:pt idx="5">
                  <c:v>9.8728682170542634E-2</c:v>
                </c:pt>
                <c:pt idx="6">
                  <c:v>0.12852554566330229</c:v>
                </c:pt>
                <c:pt idx="7">
                  <c:v>0.16939690503986687</c:v>
                </c:pt>
                <c:pt idx="8">
                  <c:v>0.18453034685806508</c:v>
                </c:pt>
                <c:pt idx="9">
                  <c:v>0.24133326373846248</c:v>
                </c:pt>
                <c:pt idx="10">
                  <c:v>0.26765612404571104</c:v>
                </c:pt>
                <c:pt idx="11">
                  <c:v>0.24926845753756624</c:v>
                </c:pt>
                <c:pt idx="12">
                  <c:v>0.22744415298301951</c:v>
                </c:pt>
                <c:pt idx="13">
                  <c:v>0.18728070407553041</c:v>
                </c:pt>
                <c:pt idx="14">
                  <c:v>0.15272920036724522</c:v>
                </c:pt>
                <c:pt idx="15">
                  <c:v>0.11930374579536919</c:v>
                </c:pt>
                <c:pt idx="16">
                  <c:v>9.5523086443978208E-2</c:v>
                </c:pt>
                <c:pt idx="17">
                  <c:v>7.5881230972380143E-2</c:v>
                </c:pt>
                <c:pt idx="18">
                  <c:v>5.6125549961446003E-2</c:v>
                </c:pt>
                <c:pt idx="19">
                  <c:v>3.9730845372983443E-2</c:v>
                </c:pt>
                <c:pt idx="20">
                  <c:v>2.7109588532841931E-2</c:v>
                </c:pt>
                <c:pt idx="21">
                  <c:v>1.6855397856941033E-2</c:v>
                </c:pt>
                <c:pt idx="22">
                  <c:v>1.2866063738156762E-2</c:v>
                </c:pt>
                <c:pt idx="23">
                  <c:v>8.6900977450310463E-3</c:v>
                </c:pt>
                <c:pt idx="24">
                  <c:v>7.0968408722913148E-3</c:v>
                </c:pt>
                <c:pt idx="25">
                  <c:v>4.6165145315286956E-3</c:v>
                </c:pt>
                <c:pt idx="26">
                  <c:v>5.932112645893565E-3</c:v>
                </c:pt>
                <c:pt idx="27">
                  <c:v>7.0108074292987033E-3</c:v>
                </c:pt>
                <c:pt idx="28">
                  <c:v>8.5268660553603562E-3</c:v>
                </c:pt>
                <c:pt idx="29">
                  <c:v>8.2225220016701999E-3</c:v>
                </c:pt>
                <c:pt idx="30">
                  <c:v>7.7855040313979775E-3</c:v>
                </c:pt>
                <c:pt idx="31">
                  <c:v>9.8493626882966388E-3</c:v>
                </c:pt>
                <c:pt idx="32">
                  <c:v>1.1483342639121534E-2</c:v>
                </c:pt>
                <c:pt idx="33">
                  <c:v>1.714011189114634E-2</c:v>
                </c:pt>
                <c:pt idx="34">
                  <c:v>2.0650760445524961E-2</c:v>
                </c:pt>
                <c:pt idx="35">
                  <c:v>2.344409250449437E-2</c:v>
                </c:pt>
                <c:pt idx="36">
                  <c:v>2.7386688359093091E-2</c:v>
                </c:pt>
                <c:pt idx="37">
                  <c:v>3.2887953023412318E-2</c:v>
                </c:pt>
                <c:pt idx="38">
                  <c:v>4.3993623054362246E-2</c:v>
                </c:pt>
                <c:pt idx="39">
                  <c:v>5.0046987346198397E-2</c:v>
                </c:pt>
                <c:pt idx="40">
                  <c:v>6.888158090828705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E$2:$E$42</c:f>
              <c:numCache>
                <c:formatCode>0.0%</c:formatCode>
                <c:ptCount val="41"/>
                <c:pt idx="0">
                  <c:v>0.11816664704138768</c:v>
                </c:pt>
                <c:pt idx="1">
                  <c:v>0.10073983381106197</c:v>
                </c:pt>
                <c:pt idx="2">
                  <c:v>9.06948971437294E-2</c:v>
                </c:pt>
                <c:pt idx="3">
                  <c:v>6.9732284503830649E-2</c:v>
                </c:pt>
                <c:pt idx="4">
                  <c:v>6.0439455687204435E-2</c:v>
                </c:pt>
                <c:pt idx="5">
                  <c:v>4.7559782086022843E-2</c:v>
                </c:pt>
                <c:pt idx="6">
                  <c:v>4.7080801754120397E-2</c:v>
                </c:pt>
                <c:pt idx="7">
                  <c:v>4.7909281292509459E-2</c:v>
                </c:pt>
                <c:pt idx="8">
                  <c:v>5.0400166483130573E-2</c:v>
                </c:pt>
                <c:pt idx="9">
                  <c:v>5.5197843834225227E-2</c:v>
                </c:pt>
                <c:pt idx="10">
                  <c:v>6.6682526778533965E-2</c:v>
                </c:pt>
                <c:pt idx="11">
                  <c:v>8.1098475209375867E-2</c:v>
                </c:pt>
                <c:pt idx="12">
                  <c:v>9.4363471419138339E-2</c:v>
                </c:pt>
                <c:pt idx="13">
                  <c:v>0.10018430573630312</c:v>
                </c:pt>
                <c:pt idx="14">
                  <c:v>0.10797753056437104</c:v>
                </c:pt>
                <c:pt idx="15">
                  <c:v>0.10169669069892819</c:v>
                </c:pt>
                <c:pt idx="16">
                  <c:v>9.2746612537565248E-2</c:v>
                </c:pt>
                <c:pt idx="17">
                  <c:v>8.038166387797932E-2</c:v>
                </c:pt>
                <c:pt idx="18">
                  <c:v>6.4867700514991286E-2</c:v>
                </c:pt>
                <c:pt idx="19">
                  <c:v>4.3234788305626076E-2</c:v>
                </c:pt>
                <c:pt idx="20">
                  <c:v>3.0998086667647862E-2</c:v>
                </c:pt>
                <c:pt idx="21">
                  <c:v>2.3033789226911901E-2</c:v>
                </c:pt>
                <c:pt idx="22">
                  <c:v>1.6799801763775681E-2</c:v>
                </c:pt>
                <c:pt idx="23">
                  <c:v>9.3181811961320447E-3</c:v>
                </c:pt>
                <c:pt idx="24">
                  <c:v>6.4410750800935508E-3</c:v>
                </c:pt>
                <c:pt idx="25">
                  <c:v>5.7716226032975982E-3</c:v>
                </c:pt>
                <c:pt idx="26">
                  <c:v>8.7631181346727108E-3</c:v>
                </c:pt>
                <c:pt idx="27">
                  <c:v>1.4377149250538856E-2</c:v>
                </c:pt>
                <c:pt idx="28">
                  <c:v>1.9566175703551153E-2</c:v>
                </c:pt>
                <c:pt idx="29">
                  <c:v>2.6148642509501663E-2</c:v>
                </c:pt>
                <c:pt idx="30">
                  <c:v>3.3636183310417553E-2</c:v>
                </c:pt>
                <c:pt idx="31">
                  <c:v>5.4916999443611038E-2</c:v>
                </c:pt>
                <c:pt idx="32">
                  <c:v>7.0526626602285758E-2</c:v>
                </c:pt>
                <c:pt idx="33">
                  <c:v>7.5721103626293529E-2</c:v>
                </c:pt>
                <c:pt idx="34">
                  <c:v>7.7406925048878417E-2</c:v>
                </c:pt>
                <c:pt idx="35">
                  <c:v>7.1970974611687499E-2</c:v>
                </c:pt>
                <c:pt idx="36">
                  <c:v>6.3840553886880827E-2</c:v>
                </c:pt>
                <c:pt idx="37">
                  <c:v>5.5770045940403495E-2</c:v>
                </c:pt>
                <c:pt idx="38">
                  <c:v>6.1656107630587542E-2</c:v>
                </c:pt>
                <c:pt idx="39">
                  <c:v>6.176943288554506E-2</c:v>
                </c:pt>
                <c:pt idx="40">
                  <c:v>6.931290322580645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G$2:$G$42</c:f>
              <c:numCache>
                <c:formatCode>0.0%</c:formatCode>
                <c:ptCount val="41"/>
                <c:pt idx="0">
                  <c:v>0.13664191460659081</c:v>
                </c:pt>
                <c:pt idx="1">
                  <c:v>0.11174871380146945</c:v>
                </c:pt>
                <c:pt idx="2">
                  <c:v>0.10899457936483631</c:v>
                </c:pt>
                <c:pt idx="3">
                  <c:v>0.10690674790351508</c:v>
                </c:pt>
                <c:pt idx="4">
                  <c:v>0.10297639813882019</c:v>
                </c:pt>
                <c:pt idx="5">
                  <c:v>0.1038455066723618</c:v>
                </c:pt>
                <c:pt idx="6">
                  <c:v>9.3472240796130243E-2</c:v>
                </c:pt>
                <c:pt idx="7">
                  <c:v>7.6280159741146242E-2</c:v>
                </c:pt>
                <c:pt idx="8">
                  <c:v>7.1941768318601551E-2</c:v>
                </c:pt>
                <c:pt idx="9">
                  <c:v>7.0669671910575549E-2</c:v>
                </c:pt>
                <c:pt idx="10">
                  <c:v>7.3585074508140211E-2</c:v>
                </c:pt>
                <c:pt idx="11">
                  <c:v>7.8181642455752251E-2</c:v>
                </c:pt>
                <c:pt idx="12">
                  <c:v>8.5479614906234749E-2</c:v>
                </c:pt>
                <c:pt idx="13">
                  <c:v>8.9983315114205167E-2</c:v>
                </c:pt>
                <c:pt idx="14">
                  <c:v>8.9951099376013824E-2</c:v>
                </c:pt>
                <c:pt idx="15">
                  <c:v>9.4599164331159752E-2</c:v>
                </c:pt>
                <c:pt idx="16">
                  <c:v>9.7688174755322363E-2</c:v>
                </c:pt>
                <c:pt idx="17">
                  <c:v>0.126220389466036</c:v>
                </c:pt>
                <c:pt idx="18">
                  <c:v>0.11592733058631695</c:v>
                </c:pt>
                <c:pt idx="19">
                  <c:v>8.0888940098803125E-2</c:v>
                </c:pt>
                <c:pt idx="20">
                  <c:v>7.4107455986532927E-2</c:v>
                </c:pt>
                <c:pt idx="21">
                  <c:v>5.5127582859520179E-2</c:v>
                </c:pt>
                <c:pt idx="22">
                  <c:v>3.7197504885014276E-2</c:v>
                </c:pt>
                <c:pt idx="23">
                  <c:v>2.8432807502574944E-2</c:v>
                </c:pt>
                <c:pt idx="24">
                  <c:v>1.2352194440086152E-2</c:v>
                </c:pt>
                <c:pt idx="25">
                  <c:v>1.0636954679948983E-2</c:v>
                </c:pt>
                <c:pt idx="26">
                  <c:v>6.0366117182194236E-2</c:v>
                </c:pt>
                <c:pt idx="27">
                  <c:v>9.4412058975218718E-2</c:v>
                </c:pt>
                <c:pt idx="28">
                  <c:v>4.8721701235239251E-2</c:v>
                </c:pt>
                <c:pt idx="29">
                  <c:v>3.320611829909325E-2</c:v>
                </c:pt>
                <c:pt idx="30">
                  <c:v>2.8900613795666271E-2</c:v>
                </c:pt>
                <c:pt idx="31">
                  <c:v>3.0901936117333006E-2</c:v>
                </c:pt>
                <c:pt idx="32">
                  <c:v>3.5909462313104192E-2</c:v>
                </c:pt>
                <c:pt idx="33">
                  <c:v>4.3689415546865049E-2</c:v>
                </c:pt>
                <c:pt idx="34">
                  <c:v>4.5938234001212115E-2</c:v>
                </c:pt>
                <c:pt idx="35">
                  <c:v>4.4347639223093885E-2</c:v>
                </c:pt>
                <c:pt idx="36">
                  <c:v>3.7980099987542183E-2</c:v>
                </c:pt>
                <c:pt idx="37">
                  <c:v>2.3983578662173103E-2</c:v>
                </c:pt>
                <c:pt idx="38">
                  <c:v>1.9850643121641275E-2</c:v>
                </c:pt>
                <c:pt idx="39">
                  <c:v>3.0431446770888514E-2</c:v>
                </c:pt>
                <c:pt idx="40">
                  <c:v>3.616384045563063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I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I$2:$I$42</c:f>
              <c:numCache>
                <c:formatCode>0.0%</c:formatCode>
                <c:ptCount val="41"/>
                <c:pt idx="0">
                  <c:v>0.20106918070227223</c:v>
                </c:pt>
                <c:pt idx="1">
                  <c:v>0.11382245395290801</c:v>
                </c:pt>
                <c:pt idx="2">
                  <c:v>0.13786567547323741</c:v>
                </c:pt>
                <c:pt idx="3">
                  <c:v>0.15030345391932901</c:v>
                </c:pt>
                <c:pt idx="4">
                  <c:v>0.1447614627534182</c:v>
                </c:pt>
                <c:pt idx="5">
                  <c:v>0.12810010099876556</c:v>
                </c:pt>
                <c:pt idx="6">
                  <c:v>0.14894803676593385</c:v>
                </c:pt>
                <c:pt idx="7">
                  <c:v>0.21328654984428227</c:v>
                </c:pt>
                <c:pt idx="8">
                  <c:v>0.23541304233222626</c:v>
                </c:pt>
                <c:pt idx="9">
                  <c:v>0.25863627580110299</c:v>
                </c:pt>
                <c:pt idx="10">
                  <c:v>0.29871817761216668</c:v>
                </c:pt>
                <c:pt idx="11">
                  <c:v>0.3137091047854586</c:v>
                </c:pt>
                <c:pt idx="12">
                  <c:v>0.30080559684827313</c:v>
                </c:pt>
                <c:pt idx="13">
                  <c:v>0.22645021942977756</c:v>
                </c:pt>
                <c:pt idx="14">
                  <c:v>0.19621507830187657</c:v>
                </c:pt>
                <c:pt idx="15">
                  <c:v>0.1518536315584286</c:v>
                </c:pt>
                <c:pt idx="16">
                  <c:v>0.10815851860706033</c:v>
                </c:pt>
                <c:pt idx="17">
                  <c:v>7.8728299182033182E-2</c:v>
                </c:pt>
                <c:pt idx="18">
                  <c:v>5.2088244589630538E-2</c:v>
                </c:pt>
                <c:pt idx="19">
                  <c:v>3.0132967786154902E-2</c:v>
                </c:pt>
                <c:pt idx="20">
                  <c:v>1.612800913444765E-2</c:v>
                </c:pt>
                <c:pt idx="21">
                  <c:v>9.1664408922604527E-3</c:v>
                </c:pt>
                <c:pt idx="22">
                  <c:v>6.1887234943487184E-3</c:v>
                </c:pt>
                <c:pt idx="23">
                  <c:v>3.7285765735228693E-3</c:v>
                </c:pt>
                <c:pt idx="24">
                  <c:v>2.7300791047655797E-3</c:v>
                </c:pt>
                <c:pt idx="25">
                  <c:v>2.1344901189314447E-3</c:v>
                </c:pt>
                <c:pt idx="26">
                  <c:v>2.0003519470211993E-3</c:v>
                </c:pt>
                <c:pt idx="27">
                  <c:v>2.3321746970221928E-3</c:v>
                </c:pt>
                <c:pt idx="28">
                  <c:v>2.7799916867189615E-3</c:v>
                </c:pt>
                <c:pt idx="29">
                  <c:v>3.4993176330615529E-3</c:v>
                </c:pt>
                <c:pt idx="30">
                  <c:v>3.8001043022869918E-3</c:v>
                </c:pt>
                <c:pt idx="31">
                  <c:v>4.720803881307579E-3</c:v>
                </c:pt>
                <c:pt idx="32">
                  <c:v>5.0051392054341511E-3</c:v>
                </c:pt>
                <c:pt idx="33">
                  <c:v>6.1178183395156852E-3</c:v>
                </c:pt>
                <c:pt idx="34">
                  <c:v>8.9796786054531577E-3</c:v>
                </c:pt>
                <c:pt idx="35">
                  <c:v>1.2678751690565185E-2</c:v>
                </c:pt>
                <c:pt idx="36">
                  <c:v>1.6751379694115217E-2</c:v>
                </c:pt>
                <c:pt idx="37">
                  <c:v>2.0436507936507937E-2</c:v>
                </c:pt>
                <c:pt idx="38">
                  <c:v>2.9334492740697798E-2</c:v>
                </c:pt>
                <c:pt idx="39">
                  <c:v>4.6193687321198405E-2</c:v>
                </c:pt>
                <c:pt idx="40">
                  <c:v>6.668587443358914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B$2:$B$42</c:f>
              <c:numCache>
                <c:formatCode>0.0%</c:formatCode>
                <c:ptCount val="41"/>
                <c:pt idx="0">
                  <c:v>0.11043164155142847</c:v>
                </c:pt>
                <c:pt idx="1">
                  <c:v>1.2510214042457512E-2</c:v>
                </c:pt>
                <c:pt idx="2">
                  <c:v>9.1064717031749867E-3</c:v>
                </c:pt>
                <c:pt idx="3">
                  <c:v>1.441331802175647E-2</c:v>
                </c:pt>
                <c:pt idx="4">
                  <c:v>1.0899900446118023E-2</c:v>
                </c:pt>
                <c:pt idx="5">
                  <c:v>5.7121900653092379E-3</c:v>
                </c:pt>
                <c:pt idx="6">
                  <c:v>7.8938777141867259E-3</c:v>
                </c:pt>
                <c:pt idx="7">
                  <c:v>9.081228651687168E-3</c:v>
                </c:pt>
                <c:pt idx="8">
                  <c:v>9.509240150690098E-3</c:v>
                </c:pt>
                <c:pt idx="9">
                  <c:v>1.0301464424400006E-2</c:v>
                </c:pt>
                <c:pt idx="10">
                  <c:v>1.0541148443333858E-2</c:v>
                </c:pt>
                <c:pt idx="11">
                  <c:v>1.0497639724694606E-2</c:v>
                </c:pt>
                <c:pt idx="12">
                  <c:v>1.0094282441710128E-2</c:v>
                </c:pt>
                <c:pt idx="13">
                  <c:v>8.963445894313268E-3</c:v>
                </c:pt>
                <c:pt idx="14">
                  <c:v>7.532894083797214E-3</c:v>
                </c:pt>
                <c:pt idx="15">
                  <c:v>7.3900517788218073E-3</c:v>
                </c:pt>
                <c:pt idx="16">
                  <c:v>6.5763654565594073E-3</c:v>
                </c:pt>
                <c:pt idx="17">
                  <c:v>1.785503186703912E-3</c:v>
                </c:pt>
                <c:pt idx="18">
                  <c:v>1.4770146672136726E-3</c:v>
                </c:pt>
                <c:pt idx="19">
                  <c:v>7.6808860250674729E-4</c:v>
                </c:pt>
                <c:pt idx="20">
                  <c:v>8.5793665008861532E-4</c:v>
                </c:pt>
                <c:pt idx="21">
                  <c:v>4.6424577039383722E-4</c:v>
                </c:pt>
                <c:pt idx="22">
                  <c:v>3.1736996062346827E-4</c:v>
                </c:pt>
                <c:pt idx="23">
                  <c:v>1.1208073201602878E-4</c:v>
                </c:pt>
                <c:pt idx="24">
                  <c:v>1.3921187735928825E-4</c:v>
                </c:pt>
                <c:pt idx="25">
                  <c:v>1.3457564472029793E-4</c:v>
                </c:pt>
                <c:pt idx="26">
                  <c:v>1.6551733622194648E-4</c:v>
                </c:pt>
                <c:pt idx="27">
                  <c:v>6.0736418049911413E-4</c:v>
                </c:pt>
                <c:pt idx="28">
                  <c:v>8.9553865724059396E-4</c:v>
                </c:pt>
                <c:pt idx="29">
                  <c:v>1.0159017183393856E-3</c:v>
                </c:pt>
                <c:pt idx="30">
                  <c:v>1.3274106429375897E-3</c:v>
                </c:pt>
                <c:pt idx="31">
                  <c:v>2.1414916621109188E-3</c:v>
                </c:pt>
                <c:pt idx="32">
                  <c:v>2.8339517156682355E-3</c:v>
                </c:pt>
                <c:pt idx="33">
                  <c:v>3.4683299852387877E-3</c:v>
                </c:pt>
                <c:pt idx="34">
                  <c:v>3.8909903193399889E-3</c:v>
                </c:pt>
                <c:pt idx="35">
                  <c:v>4.2555416333470543E-3</c:v>
                </c:pt>
                <c:pt idx="36">
                  <c:v>4.7131030449294314E-3</c:v>
                </c:pt>
                <c:pt idx="37">
                  <c:v>3.6634853658158786E-3</c:v>
                </c:pt>
                <c:pt idx="38">
                  <c:v>4.1863664342492064E-3</c:v>
                </c:pt>
                <c:pt idx="39">
                  <c:v>3.4682939603733558E-3</c:v>
                </c:pt>
                <c:pt idx="40">
                  <c:v>4.1065094058010806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K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K$2:$K$42</c:f>
              <c:numCache>
                <c:formatCode>0.0%</c:formatCode>
                <c:ptCount val="41"/>
                <c:pt idx="0">
                  <c:v>0.52065604020734946</c:v>
                </c:pt>
                <c:pt idx="1">
                  <c:v>0.42958009202326836</c:v>
                </c:pt>
                <c:pt idx="2">
                  <c:v>0.48059389432174571</c:v>
                </c:pt>
                <c:pt idx="3">
                  <c:v>0.49905674281503315</c:v>
                </c:pt>
                <c:pt idx="4">
                  <c:v>0.54843772292766446</c:v>
                </c:pt>
                <c:pt idx="5">
                  <c:v>0.53232065799762518</c:v>
                </c:pt>
                <c:pt idx="6">
                  <c:v>0.56984236990725035</c:v>
                </c:pt>
                <c:pt idx="7">
                  <c:v>0.47673808712071541</c:v>
                </c:pt>
                <c:pt idx="8">
                  <c:v>0.43970876648763668</c:v>
                </c:pt>
                <c:pt idx="9">
                  <c:v>0.40335891722373524</c:v>
                </c:pt>
                <c:pt idx="10">
                  <c:v>0.35692677284455915</c:v>
                </c:pt>
                <c:pt idx="11">
                  <c:v>0.31390998392001401</c:v>
                </c:pt>
                <c:pt idx="12">
                  <c:v>0.25291402929534301</c:v>
                </c:pt>
                <c:pt idx="13">
                  <c:v>0.24510638297872339</c:v>
                </c:pt>
                <c:pt idx="14">
                  <c:v>0.15767452103061</c:v>
                </c:pt>
                <c:pt idx="15">
                  <c:v>0.10165857125932946</c:v>
                </c:pt>
                <c:pt idx="16">
                  <c:v>8.0529566299488403E-2</c:v>
                </c:pt>
                <c:pt idx="17">
                  <c:v>0.1056636525108994</c:v>
                </c:pt>
                <c:pt idx="18">
                  <c:v>4.4592335048058524E-3</c:v>
                </c:pt>
                <c:pt idx="19">
                  <c:v>4.0546865299078902E-3</c:v>
                </c:pt>
                <c:pt idx="20">
                  <c:v>3.7149667739427945E-3</c:v>
                </c:pt>
                <c:pt idx="21">
                  <c:v>3.3112728006350627E-3</c:v>
                </c:pt>
                <c:pt idx="22">
                  <c:v>2.5483117434699511E-3</c:v>
                </c:pt>
                <c:pt idx="23">
                  <c:v>1.7027706672380159E-3</c:v>
                </c:pt>
                <c:pt idx="24">
                  <c:v>1.4911205956404077E-3</c:v>
                </c:pt>
                <c:pt idx="25">
                  <c:v>1.1143593832323882E-3</c:v>
                </c:pt>
                <c:pt idx="26">
                  <c:v>3.1342756917201154E-3</c:v>
                </c:pt>
                <c:pt idx="27">
                  <c:v>2.6993334088871944E-3</c:v>
                </c:pt>
                <c:pt idx="28">
                  <c:v>3.7159496149197376E-3</c:v>
                </c:pt>
                <c:pt idx="29">
                  <c:v>4.7399930730790164E-3</c:v>
                </c:pt>
                <c:pt idx="30">
                  <c:v>5.5878831166102979E-3</c:v>
                </c:pt>
                <c:pt idx="31">
                  <c:v>6.5239530920714311E-3</c:v>
                </c:pt>
                <c:pt idx="32">
                  <c:v>7.7124665822428592E-3</c:v>
                </c:pt>
                <c:pt idx="33">
                  <c:v>9.8303966917105603E-3</c:v>
                </c:pt>
                <c:pt idx="34">
                  <c:v>1.5589806715206118E-2</c:v>
                </c:pt>
                <c:pt idx="35">
                  <c:v>2.2237896619328752E-2</c:v>
                </c:pt>
                <c:pt idx="36">
                  <c:v>3.6554305393456103E-2</c:v>
                </c:pt>
                <c:pt idx="37">
                  <c:v>3.7079676382417742E-2</c:v>
                </c:pt>
                <c:pt idx="38">
                  <c:v>4.6801933551675216E-2</c:v>
                </c:pt>
                <c:pt idx="39">
                  <c:v>5.5080329823332747E-2</c:v>
                </c:pt>
                <c:pt idx="40">
                  <c:v>5.410237109522017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L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L$2:$L$42</c:f>
              <c:numCache>
                <c:formatCode>0.0%</c:formatCode>
                <c:ptCount val="41"/>
                <c:pt idx="0">
                  <c:v>0.14735771084790084</c:v>
                </c:pt>
                <c:pt idx="1">
                  <c:v>0.15709987322591451</c:v>
                </c:pt>
                <c:pt idx="2">
                  <c:v>0.14906718063207533</c:v>
                </c:pt>
                <c:pt idx="3">
                  <c:v>0.1279221481629344</c:v>
                </c:pt>
                <c:pt idx="4">
                  <c:v>0.10465865718688003</c:v>
                </c:pt>
                <c:pt idx="5">
                  <c:v>7.7962129402970232E-2</c:v>
                </c:pt>
                <c:pt idx="6">
                  <c:v>7.2505530173591209E-2</c:v>
                </c:pt>
                <c:pt idx="7">
                  <c:v>6.2415669098194806E-2</c:v>
                </c:pt>
                <c:pt idx="8">
                  <c:v>4.4519239378397774E-2</c:v>
                </c:pt>
                <c:pt idx="9">
                  <c:v>4.5808542543414113E-2</c:v>
                </c:pt>
                <c:pt idx="10">
                  <c:v>4.7066126366153566E-2</c:v>
                </c:pt>
                <c:pt idx="11">
                  <c:v>5.246775234701484E-2</c:v>
                </c:pt>
                <c:pt idx="12">
                  <c:v>6.3430311231393782E-2</c:v>
                </c:pt>
                <c:pt idx="13">
                  <c:v>7.0994875155709014E-2</c:v>
                </c:pt>
                <c:pt idx="14">
                  <c:v>6.6777621715312943E-2</c:v>
                </c:pt>
                <c:pt idx="15">
                  <c:v>6.8393095044956387E-2</c:v>
                </c:pt>
                <c:pt idx="16">
                  <c:v>5.9292520111827465E-2</c:v>
                </c:pt>
                <c:pt idx="17">
                  <c:v>5.0022042328597999E-2</c:v>
                </c:pt>
                <c:pt idx="18">
                  <c:v>4.4463995232130488E-2</c:v>
                </c:pt>
                <c:pt idx="19">
                  <c:v>4.3297206742110843E-2</c:v>
                </c:pt>
                <c:pt idx="20">
                  <c:v>4.3852297167144443E-2</c:v>
                </c:pt>
                <c:pt idx="21">
                  <c:v>4.2240778089834695E-2</c:v>
                </c:pt>
                <c:pt idx="22">
                  <c:v>5.2963866900521843E-2</c:v>
                </c:pt>
                <c:pt idx="23">
                  <c:v>3.6664557114132135E-2</c:v>
                </c:pt>
                <c:pt idx="24">
                  <c:v>4.5209557143064807E-2</c:v>
                </c:pt>
                <c:pt idx="25">
                  <c:v>8.7705147820467746E-2</c:v>
                </c:pt>
                <c:pt idx="26">
                  <c:v>9.9284556146830599E-2</c:v>
                </c:pt>
                <c:pt idx="27">
                  <c:v>0.15609340102187547</c:v>
                </c:pt>
                <c:pt idx="28">
                  <c:v>0.1416683634522603</c:v>
                </c:pt>
                <c:pt idx="29">
                  <c:v>0.13302489903006035</c:v>
                </c:pt>
                <c:pt idx="30">
                  <c:v>0.12093122870400161</c:v>
                </c:pt>
                <c:pt idx="31">
                  <c:v>0.10250825703696732</c:v>
                </c:pt>
                <c:pt idx="32">
                  <c:v>9.6485648456905534E-2</c:v>
                </c:pt>
                <c:pt idx="33">
                  <c:v>7.2738413179904815E-2</c:v>
                </c:pt>
                <c:pt idx="34">
                  <c:v>5.8076813886523096E-2</c:v>
                </c:pt>
                <c:pt idx="35">
                  <c:v>4.5046806915010541E-2</c:v>
                </c:pt>
                <c:pt idx="36">
                  <c:v>3.2171381771084646E-2</c:v>
                </c:pt>
                <c:pt idx="37">
                  <c:v>2.5139778165573518E-2</c:v>
                </c:pt>
                <c:pt idx="38">
                  <c:v>2.0813352978371297E-2</c:v>
                </c:pt>
                <c:pt idx="39">
                  <c:v>2.1187811688905458E-2</c:v>
                </c:pt>
                <c:pt idx="40" formatCode="General">
                  <c:v>2.274848691713221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9794312"/>
        <c:axId val="359798624"/>
      </c:lineChart>
      <c:catAx>
        <c:axId val="359794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8624"/>
        <c:crosses val="autoZero"/>
        <c:auto val="1"/>
        <c:lblAlgn val="ctr"/>
        <c:lblOffset val="100"/>
        <c:tickLblSkip val="1"/>
        <c:noMultiLvlLbl val="1"/>
      </c:catAx>
      <c:valAx>
        <c:axId val="359798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I$2:$I$42</c:f>
              <c:numCache>
                <c:formatCode>General</c:formatCode>
                <c:ptCount val="41"/>
                <c:pt idx="0">
                  <c:v>7.3421948823339509</c:v>
                </c:pt>
                <c:pt idx="1">
                  <c:v>6.3701785385734278</c:v>
                </c:pt>
                <c:pt idx="2">
                  <c:v>6.2573552129583669</c:v>
                </c:pt>
                <c:pt idx="3">
                  <c:v>5.8407767799181425</c:v>
                </c:pt>
                <c:pt idx="4">
                  <c:v>5.1898729782927919</c:v>
                </c:pt>
                <c:pt idx="5">
                  <c:v>5.0510135006127177</c:v>
                </c:pt>
                <c:pt idx="6">
                  <c:v>4.2872863733723063</c:v>
                </c:pt>
                <c:pt idx="7">
                  <c:v>3.3760210510968163</c:v>
                </c:pt>
                <c:pt idx="8">
                  <c:v>3.0288723568966294</c:v>
                </c:pt>
                <c:pt idx="9">
                  <c:v>3.0028362048316155</c:v>
                </c:pt>
                <c:pt idx="10">
                  <c:v>3.0809446610266575</c:v>
                </c:pt>
                <c:pt idx="11">
                  <c:v>3.2284828560617371</c:v>
                </c:pt>
                <c:pt idx="12">
                  <c:v>3.8793866576870868</c:v>
                </c:pt>
                <c:pt idx="13">
                  <c:v>4.764615827897563</c:v>
                </c:pt>
                <c:pt idx="14">
                  <c:v>4.8774391535126238</c:v>
                </c:pt>
                <c:pt idx="15">
                  <c:v>4.7906519799625773</c:v>
                </c:pt>
                <c:pt idx="16">
                  <c:v>4.7038648064125308</c:v>
                </c:pt>
                <c:pt idx="17">
                  <c:v>4.5042543072474235</c:v>
                </c:pt>
                <c:pt idx="18">
                  <c:v>3.497523094066882</c:v>
                </c:pt>
                <c:pt idx="19">
                  <c:v>2.3779685552712793</c:v>
                </c:pt>
                <c:pt idx="20">
                  <c:v>1.9961049916510738</c:v>
                </c:pt>
                <c:pt idx="21">
                  <c:v>1.6142414280308686</c:v>
                </c:pt>
                <c:pt idx="22">
                  <c:v>1.1803055602806349</c:v>
                </c:pt>
                <c:pt idx="23">
                  <c:v>0.79844199666042948</c:v>
                </c:pt>
                <c:pt idx="24">
                  <c:v>0.60751021485032686</c:v>
                </c:pt>
                <c:pt idx="25">
                  <c:v>0.43393586775023346</c:v>
                </c:pt>
                <c:pt idx="26">
                  <c:v>0.30375510742516343</c:v>
                </c:pt>
                <c:pt idx="27">
                  <c:v>0.1909317818101027</c:v>
                </c:pt>
                <c:pt idx="28">
                  <c:v>0.19961049916510737</c:v>
                </c:pt>
                <c:pt idx="29">
                  <c:v>0.31243382478016807</c:v>
                </c:pt>
                <c:pt idx="30">
                  <c:v>0.41657843304022413</c:v>
                </c:pt>
                <c:pt idx="31">
                  <c:v>0.42525715039522882</c:v>
                </c:pt>
                <c:pt idx="32">
                  <c:v>0.57279534543030819</c:v>
                </c:pt>
                <c:pt idx="33">
                  <c:v>0.67693995369036419</c:v>
                </c:pt>
                <c:pt idx="34">
                  <c:v>0.70297610575537817</c:v>
                </c:pt>
                <c:pt idx="35">
                  <c:v>0.85051430079045764</c:v>
                </c:pt>
                <c:pt idx="36">
                  <c:v>0.83315686608044826</c:v>
                </c:pt>
                <c:pt idx="37">
                  <c:v>0.85051430079045764</c:v>
                </c:pt>
                <c:pt idx="38">
                  <c:v>0.98937377847053232</c:v>
                </c:pt>
                <c:pt idx="39">
                  <c:v>1.0848396693755837</c:v>
                </c:pt>
                <c:pt idx="40">
                  <c:v>1.27577145118568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C$2:$C$42</c:f>
              <c:numCache>
                <c:formatCode>General</c:formatCode>
                <c:ptCount val="41"/>
                <c:pt idx="0">
                  <c:v>20.675262875540994</c:v>
                </c:pt>
                <c:pt idx="1">
                  <c:v>22.283650580015465</c:v>
                </c:pt>
                <c:pt idx="2">
                  <c:v>20.52564541465965</c:v>
                </c:pt>
                <c:pt idx="3">
                  <c:v>18.795693523219086</c:v>
                </c:pt>
                <c:pt idx="4">
                  <c:v>17.701615840524244</c:v>
                </c:pt>
                <c:pt idx="5">
                  <c:v>17.421083101371721</c:v>
                </c:pt>
                <c:pt idx="6">
                  <c:v>19.020119714541107</c:v>
                </c:pt>
                <c:pt idx="7">
                  <c:v>21.816096014761257</c:v>
                </c:pt>
                <c:pt idx="8">
                  <c:v>24.799094141083092</c:v>
                </c:pt>
                <c:pt idx="9">
                  <c:v>27.595070441303246</c:v>
                </c:pt>
                <c:pt idx="10">
                  <c:v>27.660528080438834</c:v>
                </c:pt>
                <c:pt idx="11">
                  <c:v>24.462454854100063</c:v>
                </c:pt>
                <c:pt idx="12">
                  <c:v>20.852933610337594</c:v>
                </c:pt>
                <c:pt idx="13">
                  <c:v>17.009635083948019</c:v>
                </c:pt>
                <c:pt idx="14">
                  <c:v>12.680079809694071</c:v>
                </c:pt>
                <c:pt idx="15">
                  <c:v>9.201473844202777</c:v>
                </c:pt>
                <c:pt idx="16">
                  <c:v>7.0133184788130922</c:v>
                </c:pt>
                <c:pt idx="17">
                  <c:v>5.4890905960843801</c:v>
                </c:pt>
                <c:pt idx="18">
                  <c:v>3.9274583481353318</c:v>
                </c:pt>
                <c:pt idx="19">
                  <c:v>2.5247946523727132</c:v>
                </c:pt>
                <c:pt idx="20">
                  <c:v>1.5055257001185438</c:v>
                </c:pt>
                <c:pt idx="21">
                  <c:v>0.87900258267790754</c:v>
                </c:pt>
                <c:pt idx="22">
                  <c:v>0.58911875222029975</c:v>
                </c:pt>
                <c:pt idx="23">
                  <c:v>0.36469256089828078</c:v>
                </c:pt>
                <c:pt idx="24">
                  <c:v>0.21507510001693481</c:v>
                </c:pt>
                <c:pt idx="25">
                  <c:v>0.14961746088134598</c:v>
                </c:pt>
                <c:pt idx="26">
                  <c:v>8.4159821745757105E-2</c:v>
                </c:pt>
                <c:pt idx="27">
                  <c:v>5.6106547830504741E-2</c:v>
                </c:pt>
                <c:pt idx="28">
                  <c:v>5.6106547830504741E-2</c:v>
                </c:pt>
                <c:pt idx="29">
                  <c:v>6.5457639135588858E-2</c:v>
                </c:pt>
                <c:pt idx="30">
                  <c:v>7.4808730440672988E-2</c:v>
                </c:pt>
                <c:pt idx="31">
                  <c:v>8.4159821745757105E-2</c:v>
                </c:pt>
                <c:pt idx="32">
                  <c:v>0.1215641869660936</c:v>
                </c:pt>
                <c:pt idx="33">
                  <c:v>0.14961746088134598</c:v>
                </c:pt>
                <c:pt idx="34">
                  <c:v>9.3510913050841235E-2</c:v>
                </c:pt>
                <c:pt idx="35">
                  <c:v>7.4808730440672988E-2</c:v>
                </c:pt>
                <c:pt idx="36">
                  <c:v>0.18702182610168247</c:v>
                </c:pt>
                <c:pt idx="37">
                  <c:v>0.25247946523727133</c:v>
                </c:pt>
                <c:pt idx="38">
                  <c:v>0.26183055654235543</c:v>
                </c:pt>
                <c:pt idx="39">
                  <c:v>0.3833947435084491</c:v>
                </c:pt>
                <c:pt idx="40">
                  <c:v>0.654576391355888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D$2:$D$42</c:f>
              <c:numCache>
                <c:formatCode>General</c:formatCode>
                <c:ptCount val="41"/>
                <c:pt idx="0">
                  <c:v>6.8939172744187278</c:v>
                </c:pt>
                <c:pt idx="1">
                  <c:v>7.7926072013791519</c:v>
                </c:pt>
                <c:pt idx="2">
                  <c:v>7.8713354098566768</c:v>
                </c:pt>
                <c:pt idx="3">
                  <c:v>8.5769184103627936</c:v>
                </c:pt>
                <c:pt idx="4">
                  <c:v>8.7878505915667304</c:v>
                </c:pt>
                <c:pt idx="5">
                  <c:v>8.5516659661341556</c:v>
                </c:pt>
                <c:pt idx="6">
                  <c:v>7.933723801480375</c:v>
                </c:pt>
                <c:pt idx="7">
                  <c:v>6.8924318365229249</c:v>
                </c:pt>
                <c:pt idx="8">
                  <c:v>6.3784703245753107</c:v>
                </c:pt>
                <c:pt idx="9">
                  <c:v>5.9432370211052206</c:v>
                </c:pt>
                <c:pt idx="10">
                  <c:v>5.5035474039477235</c:v>
                </c:pt>
                <c:pt idx="11">
                  <c:v>6.1913051497042133</c:v>
                </c:pt>
                <c:pt idx="12">
                  <c:v>6.4958199183436971</c:v>
                </c:pt>
                <c:pt idx="13">
                  <c:v>6.1719944570587826</c:v>
                </c:pt>
                <c:pt idx="14">
                  <c:v>6.0665283664568159</c:v>
                </c:pt>
                <c:pt idx="15">
                  <c:v>6.1036643138518745</c:v>
                </c:pt>
                <c:pt idx="16">
                  <c:v>6.06949924224842</c:v>
                </c:pt>
                <c:pt idx="17">
                  <c:v>5.2495375237655209</c:v>
                </c:pt>
                <c:pt idx="18">
                  <c:v>4.1547697945591855</c:v>
                </c:pt>
                <c:pt idx="19">
                  <c:v>3.2739051223483897</c:v>
                </c:pt>
                <c:pt idx="20">
                  <c:v>2.6529920819030051</c:v>
                </c:pt>
                <c:pt idx="21">
                  <c:v>2.0825839299149012</c:v>
                </c:pt>
                <c:pt idx="22">
                  <c:v>1.4690980789485286</c:v>
                </c:pt>
                <c:pt idx="23">
                  <c:v>1.0992240428937423</c:v>
                </c:pt>
                <c:pt idx="24">
                  <c:v>0.85709766587795855</c:v>
                </c:pt>
                <c:pt idx="25">
                  <c:v>0.62834022992439598</c:v>
                </c:pt>
                <c:pt idx="26">
                  <c:v>0.53030132880144054</c:v>
                </c:pt>
                <c:pt idx="27">
                  <c:v>0.46197118559453232</c:v>
                </c:pt>
                <c:pt idx="28">
                  <c:v>0.43077698978268281</c:v>
                </c:pt>
                <c:pt idx="29">
                  <c:v>0.61645672675797714</c:v>
                </c:pt>
                <c:pt idx="30">
                  <c:v>0.90017536485622673</c:v>
                </c:pt>
                <c:pt idx="31">
                  <c:v>1.1675541861006506</c:v>
                </c:pt>
                <c:pt idx="32">
                  <c:v>1.6666613190902417</c:v>
                </c:pt>
                <c:pt idx="33">
                  <c:v>2.2400403468699506</c:v>
                </c:pt>
                <c:pt idx="34">
                  <c:v>2.2771762942650096</c:v>
                </c:pt>
                <c:pt idx="35">
                  <c:v>1.9414673298136775</c:v>
                </c:pt>
                <c:pt idx="36">
                  <c:v>1.6711176327776489</c:v>
                </c:pt>
                <c:pt idx="37">
                  <c:v>1.4052242494290272</c:v>
                </c:pt>
                <c:pt idx="38">
                  <c:v>1.1408163039762083</c:v>
                </c:pt>
                <c:pt idx="39">
                  <c:v>0.87492292062758692</c:v>
                </c:pt>
                <c:pt idx="40">
                  <c:v>0.6936994973396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F$2:$F$42</c:f>
              <c:numCache>
                <c:formatCode>General</c:formatCode>
                <c:ptCount val="41"/>
                <c:pt idx="0">
                  <c:v>11.451759889022219</c:v>
                </c:pt>
                <c:pt idx="1">
                  <c:v>11.47691016696297</c:v>
                </c:pt>
                <c:pt idx="2">
                  <c:v>11.243850924712005</c:v>
                </c:pt>
                <c:pt idx="3">
                  <c:v>10.628507457761616</c:v>
                </c:pt>
                <c:pt idx="4">
                  <c:v>9.7448943594432116</c:v>
                </c:pt>
                <c:pt idx="5">
                  <c:v>8.4857037772095829</c:v>
                </c:pt>
                <c:pt idx="6">
                  <c:v>7.4528656964427187</c:v>
                </c:pt>
                <c:pt idx="7">
                  <c:v>6.9112963781185339</c:v>
                </c:pt>
                <c:pt idx="8">
                  <c:v>6.8190786923357782</c:v>
                </c:pt>
                <c:pt idx="9">
                  <c:v>7.4545423816387677</c:v>
                </c:pt>
                <c:pt idx="10">
                  <c:v>8.646665556030392</c:v>
                </c:pt>
                <c:pt idx="11">
                  <c:v>9.7046539147380102</c:v>
                </c:pt>
                <c:pt idx="12">
                  <c:v>10.207659473553042</c:v>
                </c:pt>
                <c:pt idx="13">
                  <c:v>10.598327124232714</c:v>
                </c:pt>
                <c:pt idx="14">
                  <c:v>9.8874126011074708</c:v>
                </c:pt>
                <c:pt idx="15">
                  <c:v>8.3565990171137248</c:v>
                </c:pt>
                <c:pt idx="16">
                  <c:v>7.1259120832129472</c:v>
                </c:pt>
                <c:pt idx="17">
                  <c:v>6.0276832798001285</c:v>
                </c:pt>
                <c:pt idx="18">
                  <c:v>4.9948451990332634</c:v>
                </c:pt>
                <c:pt idx="19">
                  <c:v>4.0106309889518519</c:v>
                </c:pt>
                <c:pt idx="20">
                  <c:v>3.1689350205346987</c:v>
                </c:pt>
                <c:pt idx="21">
                  <c:v>2.1763373844730363</c:v>
                </c:pt>
                <c:pt idx="22">
                  <c:v>1.6029110474239006</c:v>
                </c:pt>
                <c:pt idx="23">
                  <c:v>1.2524838414494286</c:v>
                </c:pt>
                <c:pt idx="24">
                  <c:v>0.78804204214354945</c:v>
                </c:pt>
                <c:pt idx="25">
                  <c:v>0.63546368930298991</c:v>
                </c:pt>
                <c:pt idx="26">
                  <c:v>0.5080356144031819</c:v>
                </c:pt>
                <c:pt idx="27">
                  <c:v>0.36551737273892293</c:v>
                </c:pt>
                <c:pt idx="28">
                  <c:v>0.2917432241127183</c:v>
                </c:pt>
                <c:pt idx="29">
                  <c:v>0.33701372440607119</c:v>
                </c:pt>
                <c:pt idx="30">
                  <c:v>0.45438168812957846</c:v>
                </c:pt>
                <c:pt idx="31">
                  <c:v>0.61031341136223838</c:v>
                </c:pt>
                <c:pt idx="32">
                  <c:v>0.89031983910260593</c:v>
                </c:pt>
                <c:pt idx="33">
                  <c:v>1.1082889145891197</c:v>
                </c:pt>
                <c:pt idx="34">
                  <c:v>1.2809874897822804</c:v>
                </c:pt>
                <c:pt idx="35">
                  <c:v>1.384941971937387</c:v>
                </c:pt>
                <c:pt idx="36">
                  <c:v>1.3329647308598336</c:v>
                </c:pt>
                <c:pt idx="37">
                  <c:v>1.304461082526982</c:v>
                </c:pt>
                <c:pt idx="38">
                  <c:v>1.2088900263521258</c:v>
                </c:pt>
                <c:pt idx="39">
                  <c:v>1.0127178584142638</c:v>
                </c:pt>
                <c:pt idx="40">
                  <c:v>0.855109449985553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K$2:$K$42</c:f>
              <c:numCache>
                <c:formatCode>General</c:formatCode>
                <c:ptCount val="41"/>
                <c:pt idx="0">
                  <c:v>16.008965020411431</c:v>
                </c:pt>
                <c:pt idx="1">
                  <c:v>14.657824750146528</c:v>
                </c:pt>
                <c:pt idx="2">
                  <c:v>13.296448568743253</c:v>
                </c:pt>
                <c:pt idx="3">
                  <c:v>11.96578012075509</c:v>
                </c:pt>
                <c:pt idx="4">
                  <c:v>11.576815497497014</c:v>
                </c:pt>
                <c:pt idx="5">
                  <c:v>12.016959676446943</c:v>
                </c:pt>
                <c:pt idx="6">
                  <c:v>12.201206076937611</c:v>
                </c:pt>
                <c:pt idx="7">
                  <c:v>13.368099946711848</c:v>
                </c:pt>
                <c:pt idx="8">
                  <c:v>16.797130178065956</c:v>
                </c:pt>
                <c:pt idx="9">
                  <c:v>20.727720055200223</c:v>
                </c:pt>
                <c:pt idx="10">
                  <c:v>25.21104913380649</c:v>
                </c:pt>
                <c:pt idx="11">
                  <c:v>31.50613448390434</c:v>
                </c:pt>
                <c:pt idx="12">
                  <c:v>35.590263028114158</c:v>
                </c:pt>
                <c:pt idx="13">
                  <c:v>36.306776807800091</c:v>
                </c:pt>
                <c:pt idx="14">
                  <c:v>35.344601160793268</c:v>
                </c:pt>
                <c:pt idx="15">
                  <c:v>31.659673150979895</c:v>
                </c:pt>
                <c:pt idx="16">
                  <c:v>25.8661474466622</c:v>
                </c:pt>
                <c:pt idx="17">
                  <c:v>19.36634387379695</c:v>
                </c:pt>
                <c:pt idx="18">
                  <c:v>13.357864035573478</c:v>
                </c:pt>
                <c:pt idx="19">
                  <c:v>8.8745349569672047</c:v>
                </c:pt>
                <c:pt idx="20">
                  <c:v>5.3226737919526501</c:v>
                </c:pt>
                <c:pt idx="21">
                  <c:v>3.1321888083413665</c:v>
                </c:pt>
                <c:pt idx="22">
                  <c:v>1.9652949385671319</c:v>
                </c:pt>
                <c:pt idx="23">
                  <c:v>0.9519397358684546</c:v>
                </c:pt>
                <c:pt idx="24">
                  <c:v>0.65509831285571074</c:v>
                </c:pt>
                <c:pt idx="25">
                  <c:v>0.37872871211970771</c:v>
                </c:pt>
                <c:pt idx="26">
                  <c:v>0.18424640049066862</c:v>
                </c:pt>
                <c:pt idx="27">
                  <c:v>0.21495413390578008</c:v>
                </c:pt>
                <c:pt idx="28">
                  <c:v>0.13306684479881625</c:v>
                </c:pt>
                <c:pt idx="29">
                  <c:v>0.10235911138370481</c:v>
                </c:pt>
                <c:pt idx="30">
                  <c:v>0.17401048935229815</c:v>
                </c:pt>
                <c:pt idx="31">
                  <c:v>0.14330275593718672</c:v>
                </c:pt>
                <c:pt idx="32">
                  <c:v>0.15353866707555719</c:v>
                </c:pt>
                <c:pt idx="33">
                  <c:v>0.16377457821392769</c:v>
                </c:pt>
                <c:pt idx="34">
                  <c:v>0.18424640049066862</c:v>
                </c:pt>
                <c:pt idx="35">
                  <c:v>0.32754915642785537</c:v>
                </c:pt>
                <c:pt idx="36">
                  <c:v>0.67557013513245168</c:v>
                </c:pt>
                <c:pt idx="37">
                  <c:v>0.83934471334637939</c:v>
                </c:pt>
                <c:pt idx="38">
                  <c:v>0.96217564700682501</c:v>
                </c:pt>
                <c:pt idx="39">
                  <c:v>1.3511402702649034</c:v>
                </c:pt>
                <c:pt idx="40">
                  <c:v>1.76057671579972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E$2:$E$42</c:f>
              <c:numCache>
                <c:formatCode>General</c:formatCode>
                <c:ptCount val="41"/>
                <c:pt idx="0">
                  <c:v>12.697388021031637</c:v>
                </c:pt>
                <c:pt idx="1">
                  <c:v>14.499791869850426</c:v>
                </c:pt>
                <c:pt idx="2">
                  <c:v>13.708609926873265</c:v>
                </c:pt>
                <c:pt idx="3">
                  <c:v>12.609612516719579</c:v>
                </c:pt>
                <c:pt idx="4">
                  <c:v>11.528651169095768</c:v>
                </c:pt>
                <c:pt idx="5">
                  <c:v>9.566327565845425</c:v>
                </c:pt>
                <c:pt idx="6">
                  <c:v>7.4885731624038856</c:v>
                </c:pt>
                <c:pt idx="7">
                  <c:v>6.0468905641825854</c:v>
                </c:pt>
                <c:pt idx="8">
                  <c:v>4.8468912038616025</c:v>
                </c:pt>
                <c:pt idx="9">
                  <c:v>3.9835650107649445</c:v>
                </c:pt>
                <c:pt idx="10">
                  <c:v>3.3426835888700706</c:v>
                </c:pt>
                <c:pt idx="11">
                  <c:v>2.9999984008024558</c:v>
                </c:pt>
                <c:pt idx="12">
                  <c:v>2.7643271837454289</c:v>
                </c:pt>
                <c:pt idx="13">
                  <c:v>3.0529041842234212</c:v>
                </c:pt>
                <c:pt idx="14">
                  <c:v>3.5987956767942886</c:v>
                </c:pt>
                <c:pt idx="15">
                  <c:v>3.8140260229841241</c:v>
                </c:pt>
                <c:pt idx="16">
                  <c:v>3.9318616315126373</c:v>
                </c:pt>
                <c:pt idx="17">
                  <c:v>3.8537053605498479</c:v>
                </c:pt>
                <c:pt idx="18">
                  <c:v>3.4677336224105342</c:v>
                </c:pt>
                <c:pt idx="19">
                  <c:v>3.1190364134996278</c:v>
                </c:pt>
                <c:pt idx="20">
                  <c:v>2.7438863128782378</c:v>
                </c:pt>
                <c:pt idx="21">
                  <c:v>2.1895779911267623</c:v>
                </c:pt>
                <c:pt idx="22">
                  <c:v>1.6857706444589351</c:v>
                </c:pt>
                <c:pt idx="23">
                  <c:v>1.383967198125702</c:v>
                </c:pt>
                <c:pt idx="24">
                  <c:v>1.1038070268283182</c:v>
                </c:pt>
                <c:pt idx="25">
                  <c:v>0.76472905126667812</c:v>
                </c:pt>
                <c:pt idx="26">
                  <c:v>0.56633236343805871</c:v>
                </c:pt>
                <c:pt idx="27">
                  <c:v>0.3991981839945552</c:v>
                </c:pt>
                <c:pt idx="28">
                  <c:v>0.35350682558553986</c:v>
                </c:pt>
                <c:pt idx="29">
                  <c:v>0.35711403809151476</c:v>
                </c:pt>
                <c:pt idx="30">
                  <c:v>0.30901787134518277</c:v>
                </c:pt>
                <c:pt idx="31">
                  <c:v>0.25370727958690109</c:v>
                </c:pt>
                <c:pt idx="32">
                  <c:v>0.23567121705702659</c:v>
                </c:pt>
                <c:pt idx="33">
                  <c:v>0.32344672136908242</c:v>
                </c:pt>
                <c:pt idx="34">
                  <c:v>0.44969915907820379</c:v>
                </c:pt>
                <c:pt idx="35">
                  <c:v>0.57474919261866686</c:v>
                </c:pt>
                <c:pt idx="36">
                  <c:v>0.74188337206217037</c:v>
                </c:pt>
                <c:pt idx="37">
                  <c:v>0.94388727239676462</c:v>
                </c:pt>
                <c:pt idx="38">
                  <c:v>0.98837622663712177</c:v>
                </c:pt>
                <c:pt idx="39">
                  <c:v>0.96913775993858897</c:v>
                </c:pt>
                <c:pt idx="40">
                  <c:v>1.00400748082967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G$2:$G$42</c:f>
              <c:numCache>
                <c:formatCode>General</c:formatCode>
                <c:ptCount val="41"/>
                <c:pt idx="0">
                  <c:v>7.8643878516175567</c:v>
                </c:pt>
                <c:pt idx="1">
                  <c:v>8.2952345198946311</c:v>
                </c:pt>
                <c:pt idx="2">
                  <c:v>6.7039741583912988</c:v>
                </c:pt>
                <c:pt idx="3">
                  <c:v>5.5550497096524305</c:v>
                </c:pt>
                <c:pt idx="4">
                  <c:v>4.8714396626528034</c:v>
                </c:pt>
                <c:pt idx="5">
                  <c:v>4.6933563730982781</c:v>
                </c:pt>
                <c:pt idx="6">
                  <c:v>4.7048456175856677</c:v>
                </c:pt>
                <c:pt idx="7">
                  <c:v>4.193574237896871</c:v>
                </c:pt>
                <c:pt idx="8">
                  <c:v>3.4065609905107457</c:v>
                </c:pt>
                <c:pt idx="9">
                  <c:v>2.895289610821949</c:v>
                </c:pt>
                <c:pt idx="10">
                  <c:v>2.5506122762002885</c:v>
                </c:pt>
                <c:pt idx="11">
                  <c:v>2.2633811640155712</c:v>
                </c:pt>
                <c:pt idx="12">
                  <c:v>1.9818946740745484</c:v>
                </c:pt>
                <c:pt idx="13">
                  <c:v>1.7808328955452466</c:v>
                </c:pt>
                <c:pt idx="14">
                  <c:v>1.7176420508646089</c:v>
                </c:pt>
                <c:pt idx="15">
                  <c:v>1.619983472721805</c:v>
                </c:pt>
                <c:pt idx="16">
                  <c:v>1.4591340498983634</c:v>
                </c:pt>
                <c:pt idx="17">
                  <c:v>1.5625372502848616</c:v>
                </c:pt>
                <c:pt idx="18">
                  <c:v>1.619983472721805</c:v>
                </c:pt>
                <c:pt idx="19">
                  <c:v>1.2753061381001443</c:v>
                </c:pt>
                <c:pt idx="20">
                  <c:v>0.99381964815912138</c:v>
                </c:pt>
                <c:pt idx="21">
                  <c:v>0.76977938065504203</c:v>
                </c:pt>
                <c:pt idx="22">
                  <c:v>0.49978213520140785</c:v>
                </c:pt>
                <c:pt idx="23">
                  <c:v>0.29297573442841152</c:v>
                </c:pt>
                <c:pt idx="24">
                  <c:v>0.183827911798219</c:v>
                </c:pt>
                <c:pt idx="25">
                  <c:v>0.17233866731083031</c:v>
                </c:pt>
                <c:pt idx="26">
                  <c:v>0.1436155560923586</c:v>
                </c:pt>
                <c:pt idx="27">
                  <c:v>0.11489244487388686</c:v>
                </c:pt>
                <c:pt idx="28">
                  <c:v>0.1953171562856077</c:v>
                </c:pt>
                <c:pt idx="29">
                  <c:v>0.30446497891580021</c:v>
                </c:pt>
                <c:pt idx="30">
                  <c:v>0.39637893481490971</c:v>
                </c:pt>
                <c:pt idx="31">
                  <c:v>0.45956977949554745</c:v>
                </c:pt>
                <c:pt idx="32">
                  <c:v>0.48254826847032484</c:v>
                </c:pt>
                <c:pt idx="33">
                  <c:v>0.50552675744510223</c:v>
                </c:pt>
                <c:pt idx="34">
                  <c:v>0.48829289071401916</c:v>
                </c:pt>
                <c:pt idx="35">
                  <c:v>0.4193574237896871</c:v>
                </c:pt>
                <c:pt idx="36">
                  <c:v>0.44233591276446449</c:v>
                </c:pt>
                <c:pt idx="37">
                  <c:v>0.46531440173924177</c:v>
                </c:pt>
                <c:pt idx="38">
                  <c:v>0.39063431257121539</c:v>
                </c:pt>
                <c:pt idx="39">
                  <c:v>0.31020960115949459</c:v>
                </c:pt>
                <c:pt idx="40">
                  <c:v>0.37914506808382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J$2:$J$42</c:f>
              <c:numCache>
                <c:formatCode>General</c:formatCode>
                <c:ptCount val="41"/>
                <c:pt idx="0">
                  <c:v>10.846158997577804</c:v>
                </c:pt>
                <c:pt idx="1">
                  <c:v>11.186007069156027</c:v>
                </c:pt>
                <c:pt idx="2">
                  <c:v>10.898848621078304</c:v>
                </c:pt>
                <c:pt idx="3">
                  <c:v>9.939897473369216</c:v>
                </c:pt>
                <c:pt idx="4">
                  <c:v>9.8292492640181663</c:v>
                </c:pt>
                <c:pt idx="5">
                  <c:v>9.6211252511911933</c:v>
                </c:pt>
                <c:pt idx="6">
                  <c:v>8.0061882909008855</c:v>
                </c:pt>
                <c:pt idx="7">
                  <c:v>7.800698759248939</c:v>
                </c:pt>
                <c:pt idx="8">
                  <c:v>8.2880777766285583</c:v>
                </c:pt>
                <c:pt idx="9">
                  <c:v>8.9914842503602266</c:v>
                </c:pt>
                <c:pt idx="10">
                  <c:v>10.664379796501082</c:v>
                </c:pt>
                <c:pt idx="11">
                  <c:v>12.450558033168013</c:v>
                </c:pt>
                <c:pt idx="12">
                  <c:v>14.858473827140836</c:v>
                </c:pt>
                <c:pt idx="13">
                  <c:v>17.253217215238536</c:v>
                </c:pt>
                <c:pt idx="14">
                  <c:v>18.778581815577994</c:v>
                </c:pt>
                <c:pt idx="15">
                  <c:v>18.325451053473699</c:v>
                </c:pt>
                <c:pt idx="16">
                  <c:v>15.733121577249127</c:v>
                </c:pt>
                <c:pt idx="17">
                  <c:v>12.110709961589793</c:v>
                </c:pt>
                <c:pt idx="18">
                  <c:v>9.405097794839147</c:v>
                </c:pt>
                <c:pt idx="19">
                  <c:v>7.6689747004976905</c:v>
                </c:pt>
                <c:pt idx="20">
                  <c:v>5.4533760323016898</c:v>
                </c:pt>
                <c:pt idx="21">
                  <c:v>3.2008946276553396</c:v>
                </c:pt>
                <c:pt idx="22">
                  <c:v>2.1839848940957012</c:v>
                </c:pt>
                <c:pt idx="23">
                  <c:v>1.7624679060917054</c:v>
                </c:pt>
                <c:pt idx="24">
                  <c:v>1.0669648758851131</c:v>
                </c:pt>
                <c:pt idx="25">
                  <c:v>0.67442718080639252</c:v>
                </c:pt>
                <c:pt idx="26">
                  <c:v>0.47684109267951968</c:v>
                </c:pt>
                <c:pt idx="27">
                  <c:v>0.34248255275324618</c:v>
                </c:pt>
                <c:pt idx="28">
                  <c:v>0.21602745635204759</c:v>
                </c:pt>
                <c:pt idx="29">
                  <c:v>0.12118613405114867</c:v>
                </c:pt>
                <c:pt idx="30">
                  <c:v>0.11328269052607376</c:v>
                </c:pt>
                <c:pt idx="31">
                  <c:v>0.1001102846509489</c:v>
                </c:pt>
                <c:pt idx="32">
                  <c:v>8.1668916425774105E-2</c:v>
                </c:pt>
                <c:pt idx="33">
                  <c:v>0.1080137281760238</c:v>
                </c:pt>
                <c:pt idx="34">
                  <c:v>0.16597231402657317</c:v>
                </c:pt>
                <c:pt idx="35">
                  <c:v>0.22393089987712253</c:v>
                </c:pt>
                <c:pt idx="36">
                  <c:v>0.28715844807772184</c:v>
                </c:pt>
                <c:pt idx="37">
                  <c:v>0.38726873272867074</c:v>
                </c:pt>
                <c:pt idx="38">
                  <c:v>0.545337603230169</c:v>
                </c:pt>
                <c:pt idx="39">
                  <c:v>0.78244090898241636</c:v>
                </c:pt>
                <c:pt idx="40">
                  <c:v>1.10648209351048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B$2:$B$42</c:f>
              <c:numCache>
                <c:formatCode>General</c:formatCode>
                <c:ptCount val="41"/>
                <c:pt idx="0">
                  <c:v>8.3023782325348972</c:v>
                </c:pt>
                <c:pt idx="1">
                  <c:v>7.9990437098306453</c:v>
                </c:pt>
                <c:pt idx="2">
                  <c:v>7.6058322915103185</c:v>
                </c:pt>
                <c:pt idx="3">
                  <c:v>6.617186439733497</c:v>
                </c:pt>
                <c:pt idx="4">
                  <c:v>5.7408867074767684</c:v>
                </c:pt>
                <c:pt idx="5">
                  <c:v>4.6848331839878918</c:v>
                </c:pt>
                <c:pt idx="6">
                  <c:v>3.7860642278271452</c:v>
                </c:pt>
                <c:pt idx="7">
                  <c:v>3.3254451377947625</c:v>
                </c:pt>
                <c:pt idx="8">
                  <c:v>3.1569259585146225</c:v>
                </c:pt>
                <c:pt idx="9">
                  <c:v>3.2355682421786875</c:v>
                </c:pt>
                <c:pt idx="10">
                  <c:v>3.7074219441630798</c:v>
                </c:pt>
                <c:pt idx="11">
                  <c:v>3.9658180190592947</c:v>
                </c:pt>
                <c:pt idx="12">
                  <c:v>4.246683317859528</c:v>
                </c:pt>
                <c:pt idx="13">
                  <c:v>4.7073024078919108</c:v>
                </c:pt>
                <c:pt idx="14">
                  <c:v>4.6960677959399009</c:v>
                </c:pt>
                <c:pt idx="15">
                  <c:v>4.1343371983394341</c:v>
                </c:pt>
                <c:pt idx="16">
                  <c:v>3.5051989290269119</c:v>
                </c:pt>
                <c:pt idx="17">
                  <c:v>2.9771721672824731</c:v>
                </c:pt>
                <c:pt idx="18">
                  <c:v>2.3143300621139229</c:v>
                </c:pt>
                <c:pt idx="19">
                  <c:v>1.5728456732813065</c:v>
                </c:pt>
                <c:pt idx="20">
                  <c:v>1.145930419104952</c:v>
                </c:pt>
                <c:pt idx="21">
                  <c:v>0.88753434420873734</c:v>
                </c:pt>
                <c:pt idx="22">
                  <c:v>0.61790365736051334</c:v>
                </c:pt>
                <c:pt idx="23">
                  <c:v>0.46061909003238261</c:v>
                </c:pt>
                <c:pt idx="24">
                  <c:v>0.3145691346562613</c:v>
                </c:pt>
                <c:pt idx="25">
                  <c:v>0.23592685099219599</c:v>
                </c:pt>
                <c:pt idx="26">
                  <c:v>0.134815343424112</c:v>
                </c:pt>
                <c:pt idx="27">
                  <c:v>6.7407671712056E-2</c:v>
                </c:pt>
                <c:pt idx="28">
                  <c:v>6.7407671712056E-2</c:v>
                </c:pt>
                <c:pt idx="29">
                  <c:v>7.8642283664065324E-2</c:v>
                </c:pt>
                <c:pt idx="30">
                  <c:v>0.15728456732813065</c:v>
                </c:pt>
                <c:pt idx="31">
                  <c:v>0.20222301513616797</c:v>
                </c:pt>
                <c:pt idx="32">
                  <c:v>0.15728456732813065</c:v>
                </c:pt>
                <c:pt idx="33">
                  <c:v>0.28086529880023331</c:v>
                </c:pt>
                <c:pt idx="34">
                  <c:v>0.539261373696448</c:v>
                </c:pt>
                <c:pt idx="35">
                  <c:v>0.69654594102457867</c:v>
                </c:pt>
                <c:pt idx="36">
                  <c:v>0.92123818006476521</c:v>
                </c:pt>
                <c:pt idx="37">
                  <c:v>1.2695111505770544</c:v>
                </c:pt>
                <c:pt idx="38">
                  <c:v>1.2695111505770544</c:v>
                </c:pt>
                <c:pt idx="39">
                  <c:v>1.3144495983850919</c:v>
                </c:pt>
                <c:pt idx="40">
                  <c:v>1.66272256889738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L$2:$L$42</c:f>
              <c:numCache>
                <c:formatCode>General</c:formatCode>
                <c:ptCount val="41"/>
                <c:pt idx="0">
                  <c:v>20.502492454478148</c:v>
                </c:pt>
                <c:pt idx="1">
                  <c:v>18.9451092027975</c:v>
                </c:pt>
                <c:pt idx="2">
                  <c:v>21.21705653466103</c:v>
                </c:pt>
                <c:pt idx="3">
                  <c:v>21.015512819737651</c:v>
                </c:pt>
                <c:pt idx="4">
                  <c:v>20.557458922184519</c:v>
                </c:pt>
                <c:pt idx="5">
                  <c:v>23.434037398818184</c:v>
                </c:pt>
                <c:pt idx="6">
                  <c:v>23.617258957839436</c:v>
                </c:pt>
                <c:pt idx="7">
                  <c:v>24.276856570315946</c:v>
                </c:pt>
                <c:pt idx="8">
                  <c:v>25.02806496230308</c:v>
                </c:pt>
                <c:pt idx="9">
                  <c:v>23.470681710622433</c:v>
                </c:pt>
                <c:pt idx="10">
                  <c:v>21.125445755150402</c:v>
                </c:pt>
                <c:pt idx="11">
                  <c:v>17.497658886529607</c:v>
                </c:pt>
                <c:pt idx="12">
                  <c:v>17.699202601452985</c:v>
                </c:pt>
                <c:pt idx="13">
                  <c:v>20.007794245120767</c:v>
                </c:pt>
                <c:pt idx="14">
                  <c:v>19.934505621512265</c:v>
                </c:pt>
                <c:pt idx="15">
                  <c:v>15.683765452219207</c:v>
                </c:pt>
                <c:pt idx="16">
                  <c:v>11.194837256198523</c:v>
                </c:pt>
                <c:pt idx="17">
                  <c:v>9.2526887305732473</c:v>
                </c:pt>
                <c:pt idx="18">
                  <c:v>7.2006072695352197</c:v>
                </c:pt>
                <c:pt idx="19">
                  <c:v>4.1041629220760543</c:v>
                </c:pt>
                <c:pt idx="20">
                  <c:v>1.9238263697231506</c:v>
                </c:pt>
                <c:pt idx="21">
                  <c:v>2.2353030200592792</c:v>
                </c:pt>
                <c:pt idx="22">
                  <c:v>1.7039604988976476</c:v>
                </c:pt>
                <c:pt idx="23">
                  <c:v>1.447450316267894</c:v>
                </c:pt>
                <c:pt idx="24">
                  <c:v>1.1726179777360155</c:v>
                </c:pt>
                <c:pt idx="25">
                  <c:v>0.21986587082550288</c:v>
                </c:pt>
                <c:pt idx="26">
                  <c:v>0.21986587082550288</c:v>
                </c:pt>
                <c:pt idx="27">
                  <c:v>0.31147665033612915</c:v>
                </c:pt>
                <c:pt idx="28">
                  <c:v>0.21986587082550288</c:v>
                </c:pt>
                <c:pt idx="29">
                  <c:v>0.18322155902125242</c:v>
                </c:pt>
                <c:pt idx="30">
                  <c:v>0.16489940311912718</c:v>
                </c:pt>
                <c:pt idx="31">
                  <c:v>9.1610779510626211E-2</c:v>
                </c:pt>
                <c:pt idx="32">
                  <c:v>7.3288623608500969E-2</c:v>
                </c:pt>
                <c:pt idx="33">
                  <c:v>3.6644311804250485E-2</c:v>
                </c:pt>
                <c:pt idx="34">
                  <c:v>9.1610779510626211E-2</c:v>
                </c:pt>
                <c:pt idx="35">
                  <c:v>0.25651018262975339</c:v>
                </c:pt>
                <c:pt idx="36">
                  <c:v>0.51302036525950678</c:v>
                </c:pt>
                <c:pt idx="37">
                  <c:v>0.80617485969351066</c:v>
                </c:pt>
                <c:pt idx="38">
                  <c:v>2.0154371492337768</c:v>
                </c:pt>
                <c:pt idx="39">
                  <c:v>2.6750347617102852</c:v>
                </c:pt>
                <c:pt idx="40">
                  <c:v>3.00483356794853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2</c:f>
              <c:numCache>
                <c:formatCode>General</c:formatCode>
                <c:ptCount val="41"/>
                <c:pt idx="0">
                  <c:v>4.5486606761249231</c:v>
                </c:pt>
                <c:pt idx="1">
                  <c:v>5.6852976681152665</c:v>
                </c:pt>
                <c:pt idx="2">
                  <c:v>8.3092812072453892</c:v>
                </c:pt>
                <c:pt idx="3">
                  <c:v>11.222705764781974</c:v>
                </c:pt>
                <c:pt idx="4">
                  <c:v>12.860054591533864</c:v>
                </c:pt>
                <c:pt idx="5">
                  <c:v>13.453725585491643</c:v>
                </c:pt>
                <c:pt idx="6">
                  <c:v>11.283974301524948</c:v>
                </c:pt>
                <c:pt idx="7">
                  <c:v>8.7888659603714263</c:v>
                </c:pt>
                <c:pt idx="8">
                  <c:v>8.0282910214931302</c:v>
                </c:pt>
                <c:pt idx="9">
                  <c:v>5.9472734803955678</c:v>
                </c:pt>
                <c:pt idx="10">
                  <c:v>4.4514761006015853</c:v>
                </c:pt>
                <c:pt idx="11">
                  <c:v>5.8627651538535357</c:v>
                </c:pt>
                <c:pt idx="12">
                  <c:v>4.7324662863538451</c:v>
                </c:pt>
                <c:pt idx="13">
                  <c:v>2.8014510248683919</c:v>
                </c:pt>
                <c:pt idx="14">
                  <c:v>2.7866620677235363</c:v>
                </c:pt>
                <c:pt idx="15">
                  <c:v>2.562715002387149</c:v>
                </c:pt>
                <c:pt idx="16">
                  <c:v>2.5162354227890309</c:v>
                </c:pt>
                <c:pt idx="17">
                  <c:v>2.4444033452283027</c:v>
                </c:pt>
                <c:pt idx="18">
                  <c:v>2.4063745982843878</c:v>
                </c:pt>
                <c:pt idx="19">
                  <c:v>1.7239698614574721</c:v>
                </c:pt>
                <c:pt idx="20">
                  <c:v>1.1007209532099791</c:v>
                </c:pt>
                <c:pt idx="21">
                  <c:v>1.1091717858641825</c:v>
                </c:pt>
                <c:pt idx="22">
                  <c:v>1.1915674042426645</c:v>
                </c:pt>
                <c:pt idx="23">
                  <c:v>0.95705679808852318</c:v>
                </c:pt>
                <c:pt idx="24">
                  <c:v>0.574656620485824</c:v>
                </c:pt>
                <c:pt idx="25">
                  <c:v>0.51761350006995177</c:v>
                </c:pt>
                <c:pt idx="26">
                  <c:v>0.4880355857802402</c:v>
                </c:pt>
                <c:pt idx="27">
                  <c:v>0.39085101025690233</c:v>
                </c:pt>
                <c:pt idx="28">
                  <c:v>0.52395162456060429</c:v>
                </c:pt>
                <c:pt idx="29">
                  <c:v>1.1070590777006315</c:v>
                </c:pt>
                <c:pt idx="30">
                  <c:v>1.8105908961630557</c:v>
                </c:pt>
                <c:pt idx="31">
                  <c:v>2.0112981717003837</c:v>
                </c:pt>
                <c:pt idx="32">
                  <c:v>2.5606022942235978</c:v>
                </c:pt>
                <c:pt idx="33">
                  <c:v>3.2768103616673274</c:v>
                </c:pt>
                <c:pt idx="34">
                  <c:v>3.36131868820936</c:v>
                </c:pt>
                <c:pt idx="35">
                  <c:v>2.6345470799478772</c:v>
                </c:pt>
                <c:pt idx="36">
                  <c:v>2.055665043134951</c:v>
                </c:pt>
                <c:pt idx="37">
                  <c:v>1.9120008880134953</c:v>
                </c:pt>
                <c:pt idx="38">
                  <c:v>1.3225553103828156</c:v>
                </c:pt>
                <c:pt idx="39">
                  <c:v>1.1176226185183857</c:v>
                </c:pt>
                <c:pt idx="40">
                  <c:v>1.06269220626606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2</c:f>
              <c:strCache>
                <c:ptCount val="41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</c:strCache>
            </c:strRef>
          </c:cat>
          <c:val>
            <c:numRef>
              <c:f>List1!$H$2:$H$42</c:f>
              <c:numCache>
                <c:formatCode>General</c:formatCode>
                <c:ptCount val="41"/>
                <c:pt idx="0">
                  <c:v>15.166060501767392</c:v>
                </c:pt>
                <c:pt idx="1">
                  <c:v>20.918349483013209</c:v>
                </c:pt>
                <c:pt idx="2">
                  <c:v>24.255117880563468</c:v>
                </c:pt>
                <c:pt idx="3">
                  <c:v>24.826673541790704</c:v>
                </c:pt>
                <c:pt idx="4">
                  <c:v>21.832250823073213</c:v>
                </c:pt>
                <c:pt idx="5">
                  <c:v>16.173996706399482</c:v>
                </c:pt>
                <c:pt idx="6">
                  <c:v>11.43405181406257</c:v>
                </c:pt>
                <c:pt idx="7">
                  <c:v>8.3500021150498061</c:v>
                </c:pt>
                <c:pt idx="8">
                  <c:v>5.7611047497994523</c:v>
                </c:pt>
                <c:pt idx="9">
                  <c:v>3.9186091220900638</c:v>
                </c:pt>
                <c:pt idx="10">
                  <c:v>2.4302135312849513</c:v>
                </c:pt>
                <c:pt idx="11">
                  <c:v>1.5809611606182634</c:v>
                </c:pt>
                <c:pt idx="12">
                  <c:v>1.0005897308373952</c:v>
                </c:pt>
                <c:pt idx="13">
                  <c:v>0.7464017375409645</c:v>
                </c:pt>
                <c:pt idx="14">
                  <c:v>0.63767392537948542</c:v>
                </c:pt>
                <c:pt idx="15">
                  <c:v>0.48192868093196134</c:v>
                </c:pt>
                <c:pt idx="16">
                  <c:v>0.39377099539562693</c:v>
                </c:pt>
                <c:pt idx="17">
                  <c:v>0.26006517233218646</c:v>
                </c:pt>
                <c:pt idx="18">
                  <c:v>0.20717056101038583</c:v>
                </c:pt>
                <c:pt idx="19">
                  <c:v>0.17043819203691316</c:v>
                </c:pt>
                <c:pt idx="20">
                  <c:v>0.14986806541176848</c:v>
                </c:pt>
                <c:pt idx="21">
                  <c:v>0.17484607631372986</c:v>
                </c:pt>
                <c:pt idx="22">
                  <c:v>0.1807232553494855</c:v>
                </c:pt>
                <c:pt idx="23">
                  <c:v>0.19982408721569125</c:v>
                </c:pt>
                <c:pt idx="24">
                  <c:v>0.28798177275202563</c:v>
                </c:pt>
                <c:pt idx="25">
                  <c:v>0.37467016352942117</c:v>
                </c:pt>
                <c:pt idx="26">
                  <c:v>0.47752079665514463</c:v>
                </c:pt>
                <c:pt idx="27">
                  <c:v>0.70085360001385844</c:v>
                </c:pt>
                <c:pt idx="28">
                  <c:v>1.0769930583022185</c:v>
                </c:pt>
                <c:pt idx="29">
                  <c:v>1.4854570012872343</c:v>
                </c:pt>
                <c:pt idx="30">
                  <c:v>1.76021512120881</c:v>
                </c:pt>
                <c:pt idx="31">
                  <c:v>1.8131097325306105</c:v>
                </c:pt>
                <c:pt idx="32">
                  <c:v>1.8865744704775558</c:v>
                </c:pt>
                <c:pt idx="33">
                  <c:v>2.1804334222653372</c:v>
                </c:pt>
                <c:pt idx="34">
                  <c:v>2.3347093719539225</c:v>
                </c:pt>
                <c:pt idx="35">
                  <c:v>2.5903666600092921</c:v>
                </c:pt>
                <c:pt idx="36">
                  <c:v>2.9003878541454013</c:v>
                </c:pt>
                <c:pt idx="37">
                  <c:v>2.8915720855917679</c:v>
                </c:pt>
                <c:pt idx="38">
                  <c:v>2.5712658281430865</c:v>
                </c:pt>
                <c:pt idx="39">
                  <c:v>2.3405865509896784</c:v>
                </c:pt>
                <c:pt idx="40">
                  <c:v>2.39641975182935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0982784"/>
        <c:axId val="400481576"/>
      </c:lineChart>
      <c:catAx>
        <c:axId val="360982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1576"/>
        <c:crosses val="autoZero"/>
        <c:auto val="1"/>
        <c:lblAlgn val="ctr"/>
        <c:lblOffset val="100"/>
        <c:tickLblSkip val="1"/>
        <c:noMultiLvlLbl val="1"/>
      </c:catAx>
      <c:valAx>
        <c:axId val="400481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60982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4.10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20046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7963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9157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30486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15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1979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71677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4540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66222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65820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898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90032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100226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28626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32044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53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80297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80426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25754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7087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03640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4750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6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435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4159AF-26F1-42E1-BF83-F89C20A19403}" type="datetimeFigureOut">
              <a:rPr lang="cs-CZ" smtClean="0"/>
              <a:t>24.10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7950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5" r:id="rId9"/>
    <p:sldLayoutId id="2147483666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chart" Target="../charts/chart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2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29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31.xml"/><Relationship Id="rId4" Type="http://schemas.openxmlformats.org/officeDocument/2006/relationships/tags" Target="../tags/tag3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chart" Target="../charts/chart7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3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chart" Target="../charts/chart8.xml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4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4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chart" Target="../charts/chart9.xml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chart" Target="../charts/chart10.xml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chart" Target="../charts/chart1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5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chart" Target="../charts/chart1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6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chart" Target="../charts/chart1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chart" Target="../charts/chart14.xml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2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chart" Target="../charts/chart3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15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800" dirty="0">
                <a:latin typeface="+mj-lt"/>
              </a:rPr>
              <a:t>Hodnocení pandemie COVID-19 </a:t>
            </a:r>
            <a:br>
              <a:rPr lang="cs-CZ" sz="4800" dirty="0">
                <a:latin typeface="+mj-lt"/>
              </a:rPr>
            </a:br>
            <a:r>
              <a:rPr lang="cs-CZ" sz="48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240535" y="3766261"/>
            <a:ext cx="9553575" cy="1964740"/>
          </a:xfrm>
        </p:spPr>
        <p:txBody>
          <a:bodyPr>
            <a:normAutofit/>
          </a:bodyPr>
          <a:lstStyle/>
          <a:p>
            <a:r>
              <a:rPr lang="cs-CZ" sz="4800" b="1" dirty="0"/>
              <a:t>Vybrané ukazatele šíření epidemie s časovými trendy </a:t>
            </a:r>
          </a:p>
        </p:txBody>
      </p:sp>
    </p:spTree>
    <p:extLst>
      <p:ext uri="{BB962C8B-B14F-4D97-AF65-F5344CB8AC3E}">
        <p14:creationId xmlns:p14="http://schemas.microsoft.com/office/powerpoint/2010/main" val="33381038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192024" y="1266074"/>
            <a:ext cx="3136392" cy="16312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b="1" dirty="0">
                <a:solidFill>
                  <a:schemeClr val="accent2"/>
                </a:solidFill>
              </a:rPr>
              <a:t>ČR patří mezi země s nadprůměrným počtem testů.</a:t>
            </a:r>
          </a:p>
          <a:p>
            <a:endParaRPr lang="cs-CZ" sz="2000" b="1" dirty="0">
              <a:solidFill>
                <a:schemeClr val="accent2"/>
              </a:solidFill>
            </a:endParaRPr>
          </a:p>
          <a:p>
            <a:r>
              <a:rPr lang="cs-CZ" sz="2000" b="1" dirty="0">
                <a:solidFill>
                  <a:schemeClr val="accent2"/>
                </a:solidFill>
              </a:rPr>
              <a:t> 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917BBBFF-A1FB-4413-9C04-7249020FEF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6749" y="714894"/>
            <a:ext cx="8627762" cy="60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3326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353581"/>
              </p:ext>
            </p:extLst>
          </p:nvPr>
        </p:nvGraphicFramePr>
        <p:xfrm>
          <a:off x="775744" y="840581"/>
          <a:ext cx="5013663" cy="52882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13.9. 2021—17.10. 202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 1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4 36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8 2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9 03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9 44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 67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 54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 42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 82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 408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 30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 22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 1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 27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 07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 </a:t>
            </a:r>
            <a:br>
              <a:rPr lang="cs-CZ" sz="2000" dirty="0">
                <a:latin typeface="+mj-lt"/>
              </a:rPr>
            </a:br>
            <a:r>
              <a:rPr lang="cs-CZ" sz="2000" u="sng" dirty="0">
                <a:latin typeface="+mj-lt"/>
              </a:rPr>
              <a:t>od 13.9. 2021 do 17.10. 2021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38053193"/>
              </p:ext>
            </p:extLst>
          </p:nvPr>
        </p:nvGraphicFramePr>
        <p:xfrm>
          <a:off x="6058960" y="857516"/>
          <a:ext cx="5013663" cy="531807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13.9. 2021—17.10. 202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 58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 0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 20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 17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 9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 30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 9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 56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 9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 6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3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  <a:r>
                        <a:rPr lang="cs-CZ" sz="1400" dirty="0"/>
                        <a:t>*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 9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9351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 6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 7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 46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0925239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1A9A6F4A-628E-4A32-81CF-FE19A683E87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92583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1.10. 2021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1C1E252-7505-49CF-963F-853CC8FAC6B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75743" y="6177432"/>
            <a:ext cx="501366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* </a:t>
            </a:r>
            <a:r>
              <a:rPr lang="cs-CZ" sz="1100" dirty="0">
                <a:solidFill>
                  <a:srgbClr val="000000"/>
                </a:solidFill>
              </a:rPr>
              <a:t>U Švédska nejsou dostupné údaje o počtu provedených testů za 41.</a:t>
            </a:r>
            <a:r>
              <a:rPr lang="cs-CZ" sz="1100" dirty="0"/>
              <a:t> t</a:t>
            </a:r>
            <a:r>
              <a:rPr lang="cs-CZ" sz="1100" dirty="0">
                <a:solidFill>
                  <a:srgbClr val="000000"/>
                </a:solidFill>
              </a:rPr>
              <a:t>ýden </a:t>
            </a:r>
            <a:r>
              <a:rPr lang="cs-CZ" sz="1100" dirty="0"/>
              <a:t>roku 2021.</a:t>
            </a:r>
          </a:p>
        </p:txBody>
      </p:sp>
    </p:spTree>
    <p:extLst>
      <p:ext uri="{BB962C8B-B14F-4D97-AF65-F5344CB8AC3E}">
        <p14:creationId xmlns:p14="http://schemas.microsoft.com/office/powerpoint/2010/main" val="3491496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0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72844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provedených test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100 tisíc osob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7569946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244600"/>
            <a:ext cx="3156144" cy="477519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celkový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vedených testů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epočítaný na 100 tisíc osob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začátku epidem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17.10. 2021.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lvl="0" algn="ctr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Pozn.: Údaje o počtu provedených testů nejsou dostupné u 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Švédska za 29.,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u Kypru za 42.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, u Estonska za 43. a u Litvy za 34. a 41. týden roku 2020 a u Švédska za 41. týden </a:t>
            </a:r>
            <a:r>
              <a:rPr lang="cs-CZ" sz="1100">
                <a:solidFill>
                  <a:srgbClr val="000000"/>
                </a:solidFill>
                <a:latin typeface="+mj-lt"/>
              </a:rPr>
              <a:t>roku 2021</a:t>
            </a:r>
            <a:r>
              <a:rPr lang="cs-CZ" sz="1100">
                <a:solidFill>
                  <a:srgbClr val="000000"/>
                </a:solidFill>
              </a:rPr>
              <a:t>. </a:t>
            </a:r>
            <a:r>
              <a:rPr lang="cs-CZ" sz="1100" dirty="0">
                <a:solidFill>
                  <a:srgbClr val="000000"/>
                </a:solidFill>
              </a:rPr>
              <a:t>Dále chybí 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údaje u Švédska za 31.—39. týden roku 2020, u Slovenska za 23., 27., 35., 37., 40. a 41. týden a u Bulharska za 43. týden roku 2020, proto byly u těchto zemí pro tyto týdny použity údaje z přechozí verze dat ECDC.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V případě Bulharska j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e</a:t>
            </a:r>
            <a:r>
              <a:rPr kumimoji="0" lang="cs-CZ" sz="11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 v 1. týdnu roku 2020 uveden nepravděpodobně vysoký počet testů, proto testy v tomto týdnu nejsou do analýzy zahrnuty. </a:t>
            </a:r>
            <a:r>
              <a:rPr lang="cs-CZ" sz="1100" dirty="0">
                <a:solidFill>
                  <a:srgbClr val="000000"/>
                </a:solidFill>
              </a:rPr>
              <a:t>U Lichtenštejnsku jsou údaje dostupné až od 29. týdne roku 2021</a:t>
            </a:r>
            <a:r>
              <a:rPr lang="cs-CZ" sz="1150" dirty="0">
                <a:solidFill>
                  <a:srgbClr val="000000"/>
                </a:solidFill>
              </a:rPr>
              <a:t>. </a:t>
            </a:r>
            <a:endParaRPr kumimoji="0" lang="cs-CZ" sz="11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 </a:t>
            </a:r>
            <a:br>
              <a:rPr lang="cs-CZ" sz="2000" dirty="0">
                <a:latin typeface="+mj-lt"/>
              </a:rPr>
            </a:br>
            <a:r>
              <a:rPr lang="cs-CZ" sz="2000" u="sng" dirty="0">
                <a:latin typeface="+mj-lt"/>
              </a:rPr>
              <a:t>od začátku epidemie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2661427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367058A-8992-403D-964A-22E4F40FED24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23929082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0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14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7335099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53272" y="1310313"/>
            <a:ext cx="3156144" cy="437082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4.10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17.10. 2021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lvl="0"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Švédska nejsou dostupné údaje o počtu provedených testů za 41. týden roku 2021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14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5919323" y="5904636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1ED9F66F-9613-4871-BB84-97F861A900D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4367264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0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7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102244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472183"/>
            <a:ext cx="3156144" cy="4370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lvl="0" algn="ctr"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týdnu (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4</a:t>
            </a:r>
            <a:r>
              <a:rPr lang="cs-CZ" sz="1600" dirty="0">
                <a:solidFill>
                  <a:srgbClr val="000000"/>
                </a:solidFill>
              </a:rPr>
              <a:t>.10.—10.1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) </a:t>
            </a:r>
          </a:p>
          <a:p>
            <a:pPr lvl="0" algn="ctr"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cs-CZ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lang="cs-CZ" sz="1600" dirty="0">
                <a:solidFill>
                  <a:srgbClr val="000000"/>
                </a:solidFill>
              </a:rPr>
              <a:t>týdnu (11.10.—17.10.)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ku 2021.</a:t>
            </a:r>
          </a:p>
          <a:p>
            <a:pPr lvl="0" algn="ctr"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Švédska nejsou dostupné údaje o počtu provedených testů za 41. týden roku 2021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7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5936355" y="5895862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1D1E692-519E-4DAB-B393-73DA8A84FB26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39569092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0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4033035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35443"/>
            <a:ext cx="44719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počtu provedených testů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daném týdnu 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podílu potvrzených případů z počtu provedených testů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972734"/>
            <a:ext cx="3156144" cy="364066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vývoj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období od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4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17.10. 2021)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AC542E05-0690-4206-8063-94C7127469F5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17800771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Mortalita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Data o počtech úmrtí hlášená v reálném čase mají velmi omezenou hodnotu. Státy je budou muset doplnit, validovat, určit příčinu úmrtí …… </a:t>
            </a:r>
          </a:p>
        </p:txBody>
      </p:sp>
    </p:spTree>
    <p:extLst>
      <p:ext uri="{BB962C8B-B14F-4D97-AF65-F5344CB8AC3E}">
        <p14:creationId xmlns:p14="http://schemas.microsoft.com/office/powerpoint/2010/main" val="10455691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692640" y="6316981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21.10. 2021</a:t>
            </a:r>
          </a:p>
        </p:txBody>
      </p:sp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3109630"/>
              </p:ext>
            </p:extLst>
          </p:nvPr>
        </p:nvGraphicFramePr>
        <p:xfrm>
          <a:off x="584948" y="766578"/>
          <a:ext cx="5400000" cy="555040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b="1" dirty="0"/>
                        <a:t>Země</a:t>
                      </a:r>
                      <a:endParaRPr lang="cs-CZ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7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14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1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8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9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7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lká Britán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3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6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5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4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70746794"/>
              </p:ext>
            </p:extLst>
          </p:nvPr>
        </p:nvGraphicFramePr>
        <p:xfrm>
          <a:off x="6250375" y="757705"/>
          <a:ext cx="5400000" cy="532906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2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14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848665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425165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9916256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kumulativního počtu na 100tis. 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521151" y="6266552"/>
            <a:ext cx="6661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</p:spTree>
    <p:extLst>
      <p:ext uri="{BB962C8B-B14F-4D97-AF65-F5344CB8AC3E}">
        <p14:creationId xmlns:p14="http://schemas.microsoft.com/office/powerpoint/2010/main" val="17326524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0488259"/>
              </p:ext>
            </p:extLst>
          </p:nvPr>
        </p:nvGraphicFramePr>
        <p:xfrm>
          <a:off x="584948" y="766578"/>
          <a:ext cx="5400000" cy="555040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7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6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9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8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lká Británie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3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1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5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956200"/>
              </p:ext>
            </p:extLst>
          </p:nvPr>
        </p:nvGraphicFramePr>
        <p:xfrm>
          <a:off x="6250375" y="757703"/>
          <a:ext cx="5400000" cy="532906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8">
                <a:tc>
                  <a:txBody>
                    <a:bodyPr/>
                    <a:lstStyle/>
                    <a:p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2430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4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633057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83131000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7denních počtů na 100tis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73440A-A00D-4FD9-9C64-073BC91449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1151" y="6266552"/>
            <a:ext cx="6661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D35B1809-FF4A-4FA6-84D2-6B53B965FED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734204" y="6316981"/>
            <a:ext cx="22499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21.10. 2021</a:t>
            </a:r>
          </a:p>
        </p:txBody>
      </p:sp>
    </p:spTree>
    <p:extLst>
      <p:ext uri="{BB962C8B-B14F-4D97-AF65-F5344CB8AC3E}">
        <p14:creationId xmlns:p14="http://schemas.microsoft.com/office/powerpoint/2010/main" val="34133329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5914409"/>
              </p:ext>
            </p:extLst>
          </p:nvPr>
        </p:nvGraphicFramePr>
        <p:xfrm>
          <a:off x="584948" y="766578"/>
          <a:ext cx="5400000" cy="555040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7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6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9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lká Britán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3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8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1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6703300"/>
              </p:ext>
            </p:extLst>
          </p:nvPr>
        </p:nvGraphicFramePr>
        <p:xfrm>
          <a:off x="6250375" y="757703"/>
          <a:ext cx="5400000" cy="532906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3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5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79691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4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6897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6322813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14denních počtů na 100tis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3DAD6DAE-1E8D-4CA5-8E94-BEE4F57505C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1151" y="6266552"/>
            <a:ext cx="6661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66082D44-DCFC-4188-A99C-A1E5233386C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725892" y="6316981"/>
            <a:ext cx="22582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21.10. 2021</a:t>
            </a:r>
          </a:p>
        </p:txBody>
      </p:sp>
    </p:spTree>
    <p:extLst>
      <p:ext uri="{BB962C8B-B14F-4D97-AF65-F5344CB8AC3E}">
        <p14:creationId xmlns:p14="http://schemas.microsoft.com/office/powerpoint/2010/main" val="27264589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129973"/>
              </p:ext>
            </p:extLst>
          </p:nvPr>
        </p:nvGraphicFramePr>
        <p:xfrm>
          <a:off x="2570678" y="1043782"/>
          <a:ext cx="6684884" cy="553391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712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kratka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/>
                        <a:t>Země</a:t>
                      </a:r>
                      <a:endParaRPr lang="cs-CZ" sz="14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dirty="0"/>
                        <a:t>Zkratka</a:t>
                      </a:r>
                      <a:endParaRPr lang="cs-CZ" sz="1400" u="none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elg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ď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ulh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G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lt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M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Česká republik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Z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ěmec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Dá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izozem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Esto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o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ranc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rtuga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Chorvat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akou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A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umu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R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land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Řecko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EL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tál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e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Kyp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Y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chtenštej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paně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S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tv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véd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otyš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V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Velká Britán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U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ucembu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Seznam zkratek zemí EU, EHP a Velké Británie</a:t>
            </a:r>
          </a:p>
        </p:txBody>
      </p:sp>
    </p:spTree>
    <p:extLst>
      <p:ext uri="{BB962C8B-B14F-4D97-AF65-F5344CB8AC3E}">
        <p14:creationId xmlns:p14="http://schemas.microsoft.com/office/powerpoint/2010/main" val="15136243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1.10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1744375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14denního</a:t>
            </a:r>
            <a:r>
              <a:rPr lang="cs-CZ" sz="2000" dirty="0">
                <a:latin typeface="+mj-lt"/>
              </a:rPr>
              <a:t> kumulativního počtu úmrtí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3394946"/>
            <a:ext cx="2904485" cy="226425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 </a:t>
            </a:r>
            <a:r>
              <a:rPr lang="cs-CZ" sz="1600" dirty="0">
                <a:solidFill>
                  <a:schemeClr val="tx1"/>
                </a:solidFill>
              </a:rPr>
              <a:t>počtu úmrt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1. týdne roku 2021 (11.10.—17.10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</p:txBody>
      </p:sp>
    </p:spTree>
    <p:extLst>
      <p:ext uri="{BB962C8B-B14F-4D97-AF65-F5344CB8AC3E}">
        <p14:creationId xmlns:p14="http://schemas.microsoft.com/office/powerpoint/2010/main" val="25392050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1.10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2471620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7denního</a:t>
            </a:r>
            <a:r>
              <a:rPr lang="cs-CZ" sz="2000" dirty="0">
                <a:latin typeface="+mj-lt"/>
              </a:rPr>
              <a:t> kumulativního počtu úmrt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1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3394946"/>
            <a:ext cx="2904485" cy="226425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úmrt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1. týdne roku 2021 (11.10.—17.10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</p:txBody>
      </p:sp>
    </p:spTree>
    <p:extLst>
      <p:ext uri="{BB962C8B-B14F-4D97-AF65-F5344CB8AC3E}">
        <p14:creationId xmlns:p14="http://schemas.microsoft.com/office/powerpoint/2010/main" val="9424058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1.10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měr kumulativního počtu úmrtí ke kumulativnímu počtu potvrzených případů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2727807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919773" y="2244436"/>
            <a:ext cx="3156144" cy="356315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měr kumulativního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úmrtí ke </a:t>
            </a:r>
            <a:r>
              <a:rPr lang="cs-CZ" sz="1600" b="1" u="sng" dirty="0">
                <a:solidFill>
                  <a:schemeClr val="tx1"/>
                </a:solidFill>
              </a:rPr>
              <a:t>kumulativnímu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od začátku epidemie do 17.10. 2021</a:t>
            </a:r>
            <a:br>
              <a:rPr lang="cs-CZ" sz="1600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(„naivní“ case fatality </a:t>
            </a:r>
            <a:r>
              <a:rPr lang="cs-CZ" sz="1600" b="1" dirty="0" err="1">
                <a:solidFill>
                  <a:schemeClr val="tx1"/>
                </a:solidFill>
              </a:rPr>
              <a:t>rate</a:t>
            </a:r>
            <a:r>
              <a:rPr lang="cs-CZ" sz="1600" b="1" dirty="0">
                <a:solidFill>
                  <a:schemeClr val="tx1"/>
                </a:solidFill>
              </a:rPr>
              <a:t>, </a:t>
            </a:r>
            <a:br>
              <a:rPr lang="cs-CZ" sz="1600" b="1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v případě rychlého růstu počtu případů je nezbytná opatrná interpretace)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měr úmrtí a potvrzených případů onemocnění v zemích EU, EHP a Velké Británii </a:t>
            </a:r>
            <a:r>
              <a:rPr lang="cs-CZ" sz="2000" u="sng" dirty="0">
                <a:latin typeface="+mj-lt"/>
              </a:rPr>
              <a:t>od začátku epidemie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3073896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5321102" y="1050408"/>
            <a:ext cx="65163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rozdílné testovací strategie. Státy také rozdílně v čase aktualizují publikovaná data. Vedle možných rozdílů </a:t>
            </a:r>
            <a:br>
              <a:rPr lang="cs-CZ" sz="1400" i="1" dirty="0"/>
            </a:br>
            <a:r>
              <a:rPr lang="cs-CZ" sz="1400" i="1" dirty="0"/>
              <a:t>v dostupnosti a úspěšnosti léčebné péče může ukazatel svědčit zejména </a:t>
            </a:r>
          </a:p>
          <a:p>
            <a:pPr algn="r"/>
            <a:r>
              <a:rPr lang="cs-CZ" sz="1400" i="1" dirty="0"/>
              <a:t>o relativním „</a:t>
            </a:r>
            <a:r>
              <a:rPr lang="cs-CZ" sz="1400" i="1" dirty="0" err="1"/>
              <a:t>podhlášení</a:t>
            </a:r>
            <a:r>
              <a:rPr lang="cs-CZ" sz="1400" i="1" dirty="0"/>
              <a:t>“ počtu případů nebo naopak zemřelých.</a:t>
            </a:r>
          </a:p>
        </p:txBody>
      </p:sp>
    </p:spTree>
    <p:extLst>
      <p:ext uri="{BB962C8B-B14F-4D97-AF65-F5344CB8AC3E}">
        <p14:creationId xmlns:p14="http://schemas.microsoft.com/office/powerpoint/2010/main" val="252379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4196029"/>
            <a:ext cx="9553575" cy="1564691"/>
          </a:xfrm>
        </p:spPr>
        <p:txBody>
          <a:bodyPr>
            <a:normAutofit/>
          </a:bodyPr>
          <a:lstStyle/>
          <a:p>
            <a:r>
              <a:rPr lang="cs-CZ" sz="4800" b="1" dirty="0"/>
              <a:t>Očkování v mezinárodním srovnání</a:t>
            </a:r>
          </a:p>
        </p:txBody>
      </p:sp>
    </p:spTree>
    <p:extLst>
      <p:ext uri="{BB962C8B-B14F-4D97-AF65-F5344CB8AC3E}">
        <p14:creationId xmlns:p14="http://schemas.microsoft.com/office/powerpoint/2010/main" val="12911364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4973924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očkováním 1.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20.10. 2021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6200858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1.10. 2021</a:t>
            </a:r>
          </a:p>
        </p:txBody>
      </p:sp>
      <p:sp>
        <p:nvSpPr>
          <p:cNvPr id="2" name="Obdélník 1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22856767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3441910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20.10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8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0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9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9,2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7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7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7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7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2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1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</a:t>
            </a:r>
            <a:r>
              <a:rPr lang="cs-CZ" sz="2000" dirty="0"/>
              <a:t>vykázaným </a:t>
            </a:r>
            <a:r>
              <a:rPr lang="cs-CZ" sz="2000" dirty="0">
                <a:latin typeface="+mj-lt"/>
              </a:rPr>
              <a:t>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1946765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20.10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6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,9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4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4,6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,2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,5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4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4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3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405521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0. 2021</a:t>
            </a:r>
          </a:p>
        </p:txBody>
      </p:sp>
    </p:spTree>
    <p:extLst>
      <p:ext uri="{BB962C8B-B14F-4D97-AF65-F5344CB8AC3E}">
        <p14:creationId xmlns:p14="http://schemas.microsoft.com/office/powerpoint/2010/main" val="22290917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6402113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20.10. 2021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745335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1.10. 2021</a:t>
            </a:r>
          </a:p>
        </p:txBody>
      </p:sp>
      <p:sp>
        <p:nvSpPr>
          <p:cNvPr id="15" name="Obdélník 14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15333923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6451566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20.10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6,8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3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9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9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9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83369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8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8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0348600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>
                          <a:latin typeface="+mj-lt"/>
                        </a:rPr>
                        <a:t>Pořad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20.10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4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,5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4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0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9,6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4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2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1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4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56862735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0. 2021</a:t>
            </a:r>
          </a:p>
        </p:txBody>
      </p:sp>
    </p:spTree>
    <p:extLst>
      <p:ext uri="{BB962C8B-B14F-4D97-AF65-F5344CB8AC3E}">
        <p14:creationId xmlns:p14="http://schemas.microsoft.com/office/powerpoint/2010/main" val="343446215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1.10. 2021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828333" y="2709333"/>
            <a:ext cx="3156144" cy="30688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</a:t>
            </a:r>
            <a:r>
              <a:rPr lang="cs-CZ" sz="1600" b="1" u="sng" dirty="0">
                <a:solidFill>
                  <a:schemeClr val="tx1"/>
                </a:solidFill>
              </a:rPr>
              <a:t> podíl</a:t>
            </a:r>
            <a:r>
              <a:rPr lang="cs-CZ" sz="1600" dirty="0">
                <a:solidFill>
                  <a:schemeClr val="tx1"/>
                </a:solidFill>
              </a:rPr>
              <a:t> osob s vykázaným očkováním 1.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u="sng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a </a:t>
            </a:r>
            <a:r>
              <a:rPr lang="cs-CZ" sz="1600" b="1" u="sng" dirty="0">
                <a:solidFill>
                  <a:schemeClr val="tx1"/>
                </a:solidFill>
              </a:rPr>
              <a:t>podíl </a:t>
            </a:r>
            <a:r>
              <a:rPr lang="cs-CZ" sz="1600" dirty="0">
                <a:solidFill>
                  <a:schemeClr val="tx1"/>
                </a:solidFill>
              </a:rPr>
              <a:t>osob s 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dirty="0">
                <a:solidFill>
                  <a:schemeClr val="tx1"/>
                </a:solidFill>
              </a:rPr>
              <a:t> do 20.10. 2021.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2042482" y="3387735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úplným očkováním z počtu obyvatel</a:t>
            </a:r>
          </a:p>
        </p:txBody>
      </p:sp>
      <p:graphicFrame>
        <p:nvGraphicFramePr>
          <p:cNvPr id="17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8525767"/>
              </p:ext>
            </p:extLst>
          </p:nvPr>
        </p:nvGraphicFramePr>
        <p:xfrm>
          <a:off x="532014" y="1233288"/>
          <a:ext cx="7601681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>
            <a:off x="723208" y="6412408"/>
            <a:ext cx="7390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1. dávkou z počtu obyvatel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Srovnání podílů osob s vykázaným očkováním 1. dávkou a osob s vykázaným úplným očkováním v zemích EU a EHP</a:t>
            </a:r>
            <a:endParaRPr lang="cs-CZ" sz="2000" u="sng" dirty="0">
              <a:latin typeface="+mj-lt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6045200" y="690389"/>
            <a:ext cx="608753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reportova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35873375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nově diagnostikovaných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obtížně srovnatelná </a:t>
            </a:r>
          </a:p>
        </p:txBody>
      </p:sp>
    </p:spTree>
    <p:extLst>
      <p:ext uri="{BB962C8B-B14F-4D97-AF65-F5344CB8AC3E}">
        <p14:creationId xmlns:p14="http://schemas.microsoft.com/office/powerpoint/2010/main" val="2626401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 Evropě se epidemická situace zhoršuje</a:t>
            </a:r>
          </a:p>
        </p:txBody>
      </p:sp>
      <p:sp>
        <p:nvSpPr>
          <p:cNvPr id="13" name="TextovéPole 12"/>
          <p:cNvSpPr txBox="1"/>
          <p:nvPr>
            <p:custDataLst>
              <p:tags r:id="rId1"/>
            </p:custDataLst>
          </p:nvPr>
        </p:nvSpPr>
        <p:spPr>
          <a:xfrm>
            <a:off x="173582" y="1010209"/>
            <a:ext cx="319615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2200" b="1" dirty="0">
                <a:solidFill>
                  <a:srgbClr val="C00000"/>
                </a:solidFill>
                <a:latin typeface="Calibri" panose="020F0502020204030204"/>
              </a:rPr>
              <a:t>Mapa shrnuje aktualizovaná data ECDC k 17. 10. 2021.  </a:t>
            </a:r>
            <a:endParaRPr lang="cs-CZ" sz="2200" dirty="0">
              <a:solidFill>
                <a:srgbClr val="C00000"/>
              </a:solidFill>
              <a:latin typeface="Calibri" panose="020F0502020204030204"/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31D0D9AA-24C9-4319-B391-63373C4253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6747" y="723205"/>
            <a:ext cx="8627762" cy="60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5445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737201" y="2313138"/>
            <a:ext cx="3200092" cy="358813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14denní kumulativní počet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</a:t>
            </a:r>
            <a:r>
              <a:rPr lang="cs-CZ" sz="1600" b="1" u="sng" dirty="0">
                <a:solidFill>
                  <a:schemeClr val="tx1"/>
                </a:solidFill>
              </a:rPr>
              <a:t>přepočítaný na 100 tisíc osob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k 3.10. 2021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a 17.10. 2021.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denní kumulativní počet případů onemocnění na 100 tisíc osob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383532" y="5986979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1.10. 2021</a:t>
            </a:r>
          </a:p>
        </p:txBody>
      </p:sp>
      <p:graphicFrame>
        <p:nvGraphicFramePr>
          <p:cNvPr id="9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03689231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2665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otvrzených případů onemocnění v zemích EU, EHP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a Velké Británii (14denní kumulativní počet)</a:t>
            </a:r>
          </a:p>
        </p:txBody>
      </p:sp>
      <p:sp>
        <p:nvSpPr>
          <p:cNvPr id="12" name="Obdélník 11"/>
          <p:cNvSpPr/>
          <p:nvPr>
            <p:custDataLst>
              <p:tags r:id="rId4"/>
            </p:custDataLst>
          </p:nvPr>
        </p:nvSpPr>
        <p:spPr>
          <a:xfrm rot="16200000">
            <a:off x="5374791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7534656" y="1574473"/>
            <a:ext cx="42830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6203659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1.10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1130749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případů onemocnění 100 tisíc osob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69533"/>
            <a:ext cx="2904485" cy="43814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 </a:t>
            </a:r>
            <a:r>
              <a:rPr lang="cs-CZ" sz="1600" dirty="0">
                <a:solidFill>
                  <a:schemeClr val="tx1"/>
                </a:solidFill>
              </a:rPr>
              <a:t>počtu potvrzených případů onemocněn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1. týdne roku 2021 (11.10.—17.10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14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45072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8646037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1.10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4351111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případů onemocnění 100 tisíc osob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7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41514"/>
            <a:ext cx="2904485" cy="4381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potvrzených případů onemocněn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1. týdne roku 2021 (11.10.—17.10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36609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19710835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% změna týdenního kumulativního počtu potvrzených případů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1.10. 2021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rocentuální změna týdenního kumulativního počtu potvrzených případů</a:t>
            </a: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88551" y="2485506"/>
            <a:ext cx="2986781" cy="35004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% změnu týdenního kumulativního</a:t>
            </a:r>
            <a:r>
              <a:rPr lang="cs-CZ" sz="1600" dirty="0">
                <a:solidFill>
                  <a:schemeClr val="tx1"/>
                </a:solidFill>
              </a:rPr>
              <a:t> </a:t>
            </a:r>
            <a:r>
              <a:rPr lang="cs-CZ" sz="1600" b="1" u="sng" dirty="0">
                <a:solidFill>
                  <a:schemeClr val="tx1"/>
                </a:solidFill>
              </a:rPr>
              <a:t>počtu</a:t>
            </a:r>
            <a:r>
              <a:rPr lang="cs-CZ" sz="1600" dirty="0">
                <a:solidFill>
                  <a:schemeClr val="tx1"/>
                </a:solidFill>
              </a:rPr>
              <a:t> potvrzených případů onemocnění v 39. týdnu vs. 38. týdnu a 41. týdnu vs. 40. týdnu roku 2021.</a:t>
            </a:r>
          </a:p>
          <a:p>
            <a:pPr algn="ctr"/>
            <a:endParaRPr lang="cs-CZ" sz="1600" dirty="0">
              <a:solidFill>
                <a:schemeClr val="tx1"/>
              </a:solidFill>
            </a:endParaRPr>
          </a:p>
        </p:txBody>
      </p:sp>
      <p:graphicFrame>
        <p:nvGraphicFramePr>
          <p:cNvPr id="12" name="Zástupný symbol pro obsah 6">
            <a:extLst>
              <a:ext uri="{FF2B5EF4-FFF2-40B4-BE49-F238E27FC236}">
                <a16:creationId xmlns:a16="http://schemas.microsoft.com/office/drawing/2014/main" id="{F13BB43F-25A2-477B-B389-4C1E0C908283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35278570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Obdélník 9"/>
          <p:cNvSpPr/>
          <p:nvPr>
            <p:custDataLst>
              <p:tags r:id="rId4"/>
            </p:custDataLst>
          </p:nvPr>
        </p:nvSpPr>
        <p:spPr>
          <a:xfrm rot="16200000">
            <a:off x="1274777" y="588260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9" name="TextovéPole 8"/>
          <p:cNvSpPr txBox="1"/>
          <p:nvPr>
            <p:custDataLst>
              <p:tags r:id="rId5"/>
            </p:custDataLst>
          </p:nvPr>
        </p:nvSpPr>
        <p:spPr>
          <a:xfrm>
            <a:off x="8660504" y="964406"/>
            <a:ext cx="33536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>
                <a:solidFill>
                  <a:srgbClr val="C00000"/>
                </a:solidFill>
              </a:rPr>
              <a:t>Relativní změna v kumulativním počtu nově diagnostikovaných případů ukazuje na dynamiku šíření nákazy v čase. </a:t>
            </a:r>
          </a:p>
        </p:txBody>
      </p:sp>
    </p:spTree>
    <p:extLst>
      <p:ext uri="{BB962C8B-B14F-4D97-AF65-F5344CB8AC3E}">
        <p14:creationId xmlns:p14="http://schemas.microsoft.com/office/powerpoint/2010/main" val="20371787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testů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obtížně srovnatelná</a:t>
            </a:r>
          </a:p>
        </p:txBody>
      </p:sp>
    </p:spTree>
    <p:extLst>
      <p:ext uri="{BB962C8B-B14F-4D97-AF65-F5344CB8AC3E}">
        <p14:creationId xmlns:p14="http://schemas.microsoft.com/office/powerpoint/2010/main" val="35551120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15483</TotalTime>
  <Words>2992</Words>
  <Application>Microsoft Office PowerPoint</Application>
  <PresentationFormat>Širokoúhlá obrazovka</PresentationFormat>
  <Paragraphs>955</Paragraphs>
  <Slides>28</Slides>
  <Notes>22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28</vt:i4>
      </vt:variant>
    </vt:vector>
  </HeadingPairs>
  <TitlesOfParts>
    <vt:vector size="32" baseType="lpstr">
      <vt:lpstr>Arial</vt:lpstr>
      <vt:lpstr>Arial (Základní text)</vt:lpstr>
      <vt:lpstr>Calibri</vt:lpstr>
      <vt:lpstr>Motiv Office</vt:lpstr>
      <vt:lpstr>Hodnocení pandemie COVID-19  v mezinárodním srovnání </vt:lpstr>
      <vt:lpstr>Seznam zkratek zemí EU, EHP a Velké Británie</vt:lpstr>
      <vt:lpstr>Hodnocení pandemie COVID-19  v mezinárodním srovnání </vt:lpstr>
      <vt:lpstr>V Evropě se epidemická situace zhoršuje</vt:lpstr>
      <vt:lpstr>Počet potvrzených případů onemocnění v zemích EU, EHP  a Velké Británii (14denní kumulativní počet)</vt:lpstr>
      <vt:lpstr>Vývoj 14denního kumulativního počtu potvrzených případů onemocnění ve vybraných evropských zemích</vt:lpstr>
      <vt:lpstr>Vývoj 7denního kumulativního počtu potvrzených případů onemocnění ve vybraných evropských zemích</vt:lpstr>
      <vt:lpstr>Procentuální změna týdenního kumulativního počtu potvrzených případů</vt:lpstr>
      <vt:lpstr>Hodnocení pandemie COVID-19  v mezinárodním srovnání </vt:lpstr>
      <vt:lpstr>Počet provedených testů v zemích EU a EHP</vt:lpstr>
      <vt:lpstr>Počet provedených testů v zemích EU a EHP  od 13.9. 2021 do 17.10. 2021</vt:lpstr>
      <vt:lpstr>Počet provedených testů v zemích EU a EHP  od začátku epidemie</vt:lpstr>
      <vt:lpstr>14denní podíl potvrzených případů z počtu provedených testů v zemích EU a EHP</vt:lpstr>
      <vt:lpstr>7denní podíl potvrzených případů z počtu provedených testů v zemích EU a EHP</vt:lpstr>
      <vt:lpstr>Vývoj podílu potvrzených případů z počtu provedených testů ve vybraných evropských zemích</vt:lpstr>
      <vt:lpstr>Hodnocení pandemie COVID-19  v mezinárodním srovnání </vt:lpstr>
      <vt:lpstr>Úmrtí – srovnání zemí řazeno dle kumulativního počtu na 100tis. </vt:lpstr>
      <vt:lpstr>Úmrtí – srovnání zemí řazeno dle 7denních počtů na 100tis.</vt:lpstr>
      <vt:lpstr>Úmrtí – srovnání zemí řazeno dle 14denních počtů na 100tis</vt:lpstr>
      <vt:lpstr>Vývoj 14denního kumulativního počtu úmrtí  ve vybraných evropských zemích</vt:lpstr>
      <vt:lpstr>Vývoj 7denního kumulativního počtu úmrtí ve vybraných evropských zemích</vt:lpstr>
      <vt:lpstr>Poměr úmrtí a potvrzených případů onemocnění v zemích EU, EHP a Velké Británii od začátku epidemie</vt:lpstr>
      <vt:lpstr>Hodnocení pandemie COVID-19  v mezinárodním srovnání </vt:lpstr>
      <vt:lpstr>Podíl osob s vykázaným očkováním 1. dávkou v zemích EU a EHP</vt:lpstr>
      <vt:lpstr>Podíl osob s vykázaným očkováním 1. dávkou v zemích EU a EHP</vt:lpstr>
      <vt:lpstr>Podíl osob s vykázaným úplným očkováním v zemích EU a EHP</vt:lpstr>
      <vt:lpstr>Podíl osob s vykázaným úplným očkováním v zemích EU a EHP</vt:lpstr>
      <vt:lpstr>Srovnání podílů osob s vykázaným očkováním 1. dávkou a osob s vykázaným úplným očkováním v zemích EU a EH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ývoj epidemie COVID-19 v ČR  Souhrn hlavních statistických ukazatelů dle regionů</dc:title>
  <dc:creator>Nováková Tereza Mgr.</dc:creator>
  <cp:lastModifiedBy>Dušek Ladislav prof. RNDr. Ph.D.</cp:lastModifiedBy>
  <cp:revision>1002</cp:revision>
  <dcterms:created xsi:type="dcterms:W3CDTF">2020-11-14T13:18:43Z</dcterms:created>
  <dcterms:modified xsi:type="dcterms:W3CDTF">2021-10-24T06:35:44Z</dcterms:modified>
</cp:coreProperties>
</file>